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ms-powerpoint.presentation.macroEnabled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notesSlides/notesSlide2.xml" ContentType="application/vnd.openxmlformats-officedocument.presentationml.notesSlide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notesSlides/notesSlide5.xml" ContentType="application/vnd.openxmlformats-officedocument.presentationml.notesSlide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notesSlides/notesSlide6.xml" ContentType="application/vnd.openxmlformats-officedocument.presentationml.notesSlide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notesSlides/notesSlide7.xml" ContentType="application/vnd.openxmlformats-officedocument.presentationml.notesSlide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notesSlides/notesSlide8.xml" ContentType="application/vnd.openxmlformats-officedocument.presentationml.notesSlide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2" r:id="rId1"/>
    <p:sldMasterId id="2147483679" r:id="rId2"/>
    <p:sldMasterId id="2147483686" r:id="rId3"/>
    <p:sldMasterId id="2147483714" r:id="rId4"/>
    <p:sldMasterId id="2147483808" r:id="rId5"/>
    <p:sldMasterId id="2147483815" r:id="rId6"/>
    <p:sldMasterId id="2147483835" r:id="rId7"/>
    <p:sldMasterId id="2147483848" r:id="rId8"/>
  </p:sldMasterIdLst>
  <p:notesMasterIdLst>
    <p:notesMasterId r:id="rId29"/>
  </p:notesMasterIdLst>
  <p:sldIdLst>
    <p:sldId id="425" r:id="rId9"/>
    <p:sldId id="475" r:id="rId10"/>
    <p:sldId id="476" r:id="rId11"/>
    <p:sldId id="472" r:id="rId12"/>
    <p:sldId id="473" r:id="rId13"/>
    <p:sldId id="474" r:id="rId14"/>
    <p:sldId id="470" r:id="rId15"/>
    <p:sldId id="471" r:id="rId16"/>
    <p:sldId id="469" r:id="rId17"/>
    <p:sldId id="477" r:id="rId18"/>
    <p:sldId id="454" r:id="rId19"/>
    <p:sldId id="478" r:id="rId20"/>
    <p:sldId id="479" r:id="rId21"/>
    <p:sldId id="440" r:id="rId22"/>
    <p:sldId id="480" r:id="rId23"/>
    <p:sldId id="468" r:id="rId24"/>
    <p:sldId id="481" r:id="rId25"/>
    <p:sldId id="463" r:id="rId26"/>
    <p:sldId id="482" r:id="rId27"/>
    <p:sldId id="465" r:id="rId28"/>
  </p:sldIdLst>
  <p:sldSz cx="9144000" cy="5143500" type="screen16x9"/>
  <p:notesSz cx="9940925" cy="6808788"/>
  <p:embeddedFontLst>
    <p:embeddedFont>
      <p:font typeface="Arial Black" panose="020B0A04020102020204" pitchFamily="34" charset="0"/>
      <p:bold r:id="rId30"/>
    </p:embeddedFont>
    <p:embeddedFont>
      <p:font typeface="MS PGothic" panose="020B0600070205080204" pitchFamily="34" charset="-128"/>
      <p:regular r:id="rId31"/>
    </p:embeddedFont>
    <p:embeddedFont>
      <p:font typeface="Trebuchet MS" panose="020B0603020202020204" pitchFamily="34" charset="0"/>
      <p:regular r:id="rId32"/>
      <p:bold r:id="rId33"/>
      <p:italic r:id="rId34"/>
      <p:boldItalic r:id="rId35"/>
    </p:embeddedFont>
    <p:embeddedFont>
      <p:font typeface="Tahoma" panose="020B0604030504040204" pitchFamily="34" charset="0"/>
      <p:regular r:id="rId36"/>
      <p:bold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Segoe UI Light" panose="020B0502040204020203" pitchFamily="34" charset="0"/>
      <p:regular r:id="rId42"/>
      <p:italic r:id="rId43"/>
    </p:embeddedFont>
    <p:embeddedFont>
      <p:font typeface="Segoe UI Black" panose="020B0A02040204020203" pitchFamily="34" charset="0"/>
      <p:bold r:id="rId44"/>
      <p:boldItalic r:id="rId45"/>
    </p:embeddedFont>
    <p:embeddedFont>
      <p:font typeface="Calibri Light" panose="020F0302020204030204" pitchFamily="34" charset="0"/>
      <p:regular r:id="rId46"/>
      <p:italic r:id="rId47"/>
    </p:embeddedFont>
    <p:embeddedFont>
      <p:font typeface="MS PGothic" panose="020B0600070205080204" pitchFamily="34" charset="-128"/>
      <p:regular r:id="rId31"/>
    </p:embeddedFont>
    <p:embeddedFont>
      <p:font typeface="Arial Unicode MS" panose="020B0604020202020204" pitchFamily="34" charset="-128"/>
      <p:regular r:id="rId4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3" orient="horz" pos="446">
          <p15:clr>
            <a:srgbClr val="A4A3A4"/>
          </p15:clr>
        </p15:guide>
        <p15:guide id="4" pos="28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na Tulegenova" initials="ZT" lastIdx="17" clrIdx="0"/>
  <p:cmAuthor id="2" name="Венера С.Мурзалина" initials="ВС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00549B"/>
    <a:srgbClr val="718DBF"/>
    <a:srgbClr val="1D499A"/>
    <a:srgbClr val="9AAED2"/>
    <a:srgbClr val="5B9BD5"/>
    <a:srgbClr val="800000"/>
    <a:srgbClr val="CC9900"/>
    <a:srgbClr val="032732"/>
    <a:srgbClr val="016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0A4EFE6-449A-4559-8E1A-398ED4728B9D}">
  <a:tblStyle styleId="{70A4EFE6-449A-4559-8E1A-398ED4728B9D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F7741AE-101D-41E6-8BC4-5FA8D5DA8BC7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35" autoAdjust="0"/>
    <p:restoredTop sz="96374" autoAdjust="0"/>
  </p:normalViewPr>
  <p:slideViewPr>
    <p:cSldViewPr snapToGrid="0">
      <p:cViewPr varScale="1">
        <p:scale>
          <a:sx n="100" d="100"/>
          <a:sy n="100" d="100"/>
        </p:scale>
        <p:origin x="408" y="90"/>
      </p:cViewPr>
      <p:guideLst>
        <p:guide orient="horz" pos="595"/>
        <p:guide pos="308"/>
        <p:guide orient="horz" pos="446"/>
        <p:guide pos="2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10.fntdata"/><Relationship Id="rId21" Type="http://schemas.openxmlformats.org/officeDocument/2006/relationships/slide" Target="slides/slide13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0" Type="http://schemas.openxmlformats.org/officeDocument/2006/relationships/slide" Target="slides/slide12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9" y="1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5630896" y="1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930525" y="852488"/>
            <a:ext cx="4079875" cy="2295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994094" y="3276730"/>
            <a:ext cx="7952740" cy="2680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9" y="6467167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630896" y="6467167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ru-RU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‹#›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729715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930525" y="852488"/>
            <a:ext cx="4079875" cy="2295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21923">
              <a:spcBef>
                <a:spcPct val="0"/>
              </a:spcBef>
            </a:pPr>
            <a:endParaRPr lang="ru-RU" altLang="ru-RU"/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5180" indent="-286608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6432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5004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63577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22150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80722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39295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97867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78941D3-F90E-4613-9D31-78259B349BE6}" type="slidenum">
              <a:rPr lang="ru-RU" altLang="ru-RU" sz="12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</a:t>
            </a:fld>
            <a:endParaRPr lang="ru-RU" altLang="ru-RU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52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30525" y="852488"/>
            <a:ext cx="4079875" cy="2295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ru-RU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20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9824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5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2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9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719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ru-RU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10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9910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1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433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4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522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5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847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6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9537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8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648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8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26" Type="http://schemas.openxmlformats.org/officeDocument/2006/relationships/tags" Target="../tags/tag201.xml"/><Relationship Id="rId39" Type="http://schemas.openxmlformats.org/officeDocument/2006/relationships/tags" Target="../tags/tag214.xml"/><Relationship Id="rId21" Type="http://schemas.openxmlformats.org/officeDocument/2006/relationships/tags" Target="../tags/tag196.xml"/><Relationship Id="rId34" Type="http://schemas.openxmlformats.org/officeDocument/2006/relationships/tags" Target="../tags/tag209.xml"/><Relationship Id="rId42" Type="http://schemas.openxmlformats.org/officeDocument/2006/relationships/oleObject" Target="../embeddings/oleObject13.bin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6" Type="http://schemas.openxmlformats.org/officeDocument/2006/relationships/tags" Target="../tags/tag191.xml"/><Relationship Id="rId29" Type="http://schemas.openxmlformats.org/officeDocument/2006/relationships/tags" Target="../tags/tag20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24" Type="http://schemas.openxmlformats.org/officeDocument/2006/relationships/tags" Target="../tags/tag199.xml"/><Relationship Id="rId32" Type="http://schemas.openxmlformats.org/officeDocument/2006/relationships/tags" Target="../tags/tag207.xml"/><Relationship Id="rId37" Type="http://schemas.openxmlformats.org/officeDocument/2006/relationships/tags" Target="../tags/tag212.xml"/><Relationship Id="rId40" Type="http://schemas.openxmlformats.org/officeDocument/2006/relationships/tags" Target="../tags/tag215.xml"/><Relationship Id="rId45" Type="http://schemas.openxmlformats.org/officeDocument/2006/relationships/image" Target="../media/image6.emf"/><Relationship Id="rId5" Type="http://schemas.openxmlformats.org/officeDocument/2006/relationships/tags" Target="../tags/tag180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28" Type="http://schemas.openxmlformats.org/officeDocument/2006/relationships/tags" Target="../tags/tag203.xml"/><Relationship Id="rId36" Type="http://schemas.openxmlformats.org/officeDocument/2006/relationships/tags" Target="../tags/tag211.xml"/><Relationship Id="rId10" Type="http://schemas.openxmlformats.org/officeDocument/2006/relationships/tags" Target="../tags/tag185.xml"/><Relationship Id="rId19" Type="http://schemas.openxmlformats.org/officeDocument/2006/relationships/tags" Target="../tags/tag194.xml"/><Relationship Id="rId31" Type="http://schemas.openxmlformats.org/officeDocument/2006/relationships/tags" Target="../tags/tag206.xml"/><Relationship Id="rId44" Type="http://schemas.openxmlformats.org/officeDocument/2006/relationships/oleObject" Target="../embeddings/oleObject14.bin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tags" Target="../tags/tag197.xml"/><Relationship Id="rId27" Type="http://schemas.openxmlformats.org/officeDocument/2006/relationships/tags" Target="../tags/tag202.xml"/><Relationship Id="rId30" Type="http://schemas.openxmlformats.org/officeDocument/2006/relationships/tags" Target="../tags/tag205.xml"/><Relationship Id="rId35" Type="http://schemas.openxmlformats.org/officeDocument/2006/relationships/tags" Target="../tags/tag210.xml"/><Relationship Id="rId43" Type="http://schemas.openxmlformats.org/officeDocument/2006/relationships/image" Target="../media/image5.emf"/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tags" Target="../tags/tag200.xml"/><Relationship Id="rId33" Type="http://schemas.openxmlformats.org/officeDocument/2006/relationships/tags" Target="../tags/tag208.xml"/><Relationship Id="rId38" Type="http://schemas.openxmlformats.org/officeDocument/2006/relationships/tags" Target="../tags/tag213.xml"/><Relationship Id="rId20" Type="http://schemas.openxmlformats.org/officeDocument/2006/relationships/tags" Target="../tags/tag195.xml"/><Relationship Id="rId4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26" Type="http://schemas.openxmlformats.org/officeDocument/2006/relationships/tags" Target="../tags/tag240.xml"/><Relationship Id="rId39" Type="http://schemas.openxmlformats.org/officeDocument/2006/relationships/tags" Target="../tags/tag253.xml"/><Relationship Id="rId21" Type="http://schemas.openxmlformats.org/officeDocument/2006/relationships/tags" Target="../tags/tag235.xml"/><Relationship Id="rId34" Type="http://schemas.openxmlformats.org/officeDocument/2006/relationships/tags" Target="../tags/tag248.xml"/><Relationship Id="rId42" Type="http://schemas.openxmlformats.org/officeDocument/2006/relationships/oleObject" Target="../embeddings/oleObject15.bin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6" Type="http://schemas.openxmlformats.org/officeDocument/2006/relationships/tags" Target="../tags/tag230.xml"/><Relationship Id="rId29" Type="http://schemas.openxmlformats.org/officeDocument/2006/relationships/tags" Target="../tags/tag24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24" Type="http://schemas.openxmlformats.org/officeDocument/2006/relationships/tags" Target="../tags/tag238.xml"/><Relationship Id="rId32" Type="http://schemas.openxmlformats.org/officeDocument/2006/relationships/tags" Target="../tags/tag246.xml"/><Relationship Id="rId37" Type="http://schemas.openxmlformats.org/officeDocument/2006/relationships/tags" Target="../tags/tag251.xml"/><Relationship Id="rId40" Type="http://schemas.openxmlformats.org/officeDocument/2006/relationships/tags" Target="../tags/tag254.xml"/><Relationship Id="rId45" Type="http://schemas.openxmlformats.org/officeDocument/2006/relationships/image" Target="../media/image9.emf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23" Type="http://schemas.openxmlformats.org/officeDocument/2006/relationships/tags" Target="../tags/tag237.xml"/><Relationship Id="rId28" Type="http://schemas.openxmlformats.org/officeDocument/2006/relationships/tags" Target="../tags/tag242.xml"/><Relationship Id="rId36" Type="http://schemas.openxmlformats.org/officeDocument/2006/relationships/tags" Target="../tags/tag250.xml"/><Relationship Id="rId10" Type="http://schemas.openxmlformats.org/officeDocument/2006/relationships/tags" Target="../tags/tag224.xml"/><Relationship Id="rId19" Type="http://schemas.openxmlformats.org/officeDocument/2006/relationships/tags" Target="../tags/tag233.xml"/><Relationship Id="rId31" Type="http://schemas.openxmlformats.org/officeDocument/2006/relationships/tags" Target="../tags/tag245.xml"/><Relationship Id="rId44" Type="http://schemas.openxmlformats.org/officeDocument/2006/relationships/oleObject" Target="../embeddings/oleObject16.bin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Relationship Id="rId22" Type="http://schemas.openxmlformats.org/officeDocument/2006/relationships/tags" Target="../tags/tag236.xml"/><Relationship Id="rId27" Type="http://schemas.openxmlformats.org/officeDocument/2006/relationships/tags" Target="../tags/tag241.xml"/><Relationship Id="rId30" Type="http://schemas.openxmlformats.org/officeDocument/2006/relationships/tags" Target="../tags/tag244.xml"/><Relationship Id="rId35" Type="http://schemas.openxmlformats.org/officeDocument/2006/relationships/tags" Target="../tags/tag249.xml"/><Relationship Id="rId43" Type="http://schemas.openxmlformats.org/officeDocument/2006/relationships/image" Target="../media/image5.emf"/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25" Type="http://schemas.openxmlformats.org/officeDocument/2006/relationships/tags" Target="../tags/tag239.xml"/><Relationship Id="rId33" Type="http://schemas.openxmlformats.org/officeDocument/2006/relationships/tags" Target="../tags/tag247.xml"/><Relationship Id="rId38" Type="http://schemas.openxmlformats.org/officeDocument/2006/relationships/tags" Target="../tags/tag252.xml"/><Relationship Id="rId20" Type="http://schemas.openxmlformats.org/officeDocument/2006/relationships/tags" Target="../tags/tag234.xml"/><Relationship Id="rId4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10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tags" Target="../tags/tag281.xml"/><Relationship Id="rId39" Type="http://schemas.openxmlformats.org/officeDocument/2006/relationships/slideMaster" Target="../slideMasters/slideMaster5.xml"/><Relationship Id="rId21" Type="http://schemas.openxmlformats.org/officeDocument/2006/relationships/tags" Target="../tags/tag276.xml"/><Relationship Id="rId34" Type="http://schemas.openxmlformats.org/officeDocument/2006/relationships/tags" Target="../tags/tag289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29" Type="http://schemas.openxmlformats.org/officeDocument/2006/relationships/tags" Target="../tags/tag284.xml"/><Relationship Id="rId41" Type="http://schemas.openxmlformats.org/officeDocument/2006/relationships/image" Target="../media/image5.emf"/><Relationship Id="rId1" Type="http://schemas.openxmlformats.org/officeDocument/2006/relationships/vmlDrawing" Target="../drawings/vmlDrawing15.v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32" Type="http://schemas.openxmlformats.org/officeDocument/2006/relationships/tags" Target="../tags/tag287.xml"/><Relationship Id="rId37" Type="http://schemas.openxmlformats.org/officeDocument/2006/relationships/tags" Target="../tags/tag292.xml"/><Relationship Id="rId40" Type="http://schemas.openxmlformats.org/officeDocument/2006/relationships/oleObject" Target="../embeddings/oleObject18.bin"/><Relationship Id="rId5" Type="http://schemas.openxmlformats.org/officeDocument/2006/relationships/tags" Target="../tags/tag260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28" Type="http://schemas.openxmlformats.org/officeDocument/2006/relationships/tags" Target="../tags/tag283.xml"/><Relationship Id="rId36" Type="http://schemas.openxmlformats.org/officeDocument/2006/relationships/tags" Target="../tags/tag291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31" Type="http://schemas.openxmlformats.org/officeDocument/2006/relationships/tags" Target="../tags/tag286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tags" Target="../tags/tag282.xml"/><Relationship Id="rId30" Type="http://schemas.openxmlformats.org/officeDocument/2006/relationships/tags" Target="../tags/tag285.xml"/><Relationship Id="rId35" Type="http://schemas.openxmlformats.org/officeDocument/2006/relationships/tags" Target="../tags/tag290.xml"/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33" Type="http://schemas.openxmlformats.org/officeDocument/2006/relationships/tags" Target="../tags/tag288.xml"/><Relationship Id="rId38" Type="http://schemas.openxmlformats.org/officeDocument/2006/relationships/tags" Target="../tags/tag29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image" Target="../media/image8.png"/><Relationship Id="rId2" Type="http://schemas.openxmlformats.org/officeDocument/2006/relationships/tags" Target="../tags/tag3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3" Type="http://schemas.openxmlformats.org/officeDocument/2006/relationships/tags" Target="../tags/tag344.xml"/><Relationship Id="rId18" Type="http://schemas.openxmlformats.org/officeDocument/2006/relationships/tags" Target="../tags/tag349.xml"/><Relationship Id="rId26" Type="http://schemas.openxmlformats.org/officeDocument/2006/relationships/tags" Target="../tags/tag357.xml"/><Relationship Id="rId39" Type="http://schemas.openxmlformats.org/officeDocument/2006/relationships/tags" Target="../tags/tag370.xml"/><Relationship Id="rId21" Type="http://schemas.openxmlformats.org/officeDocument/2006/relationships/tags" Target="../tags/tag352.xml"/><Relationship Id="rId34" Type="http://schemas.openxmlformats.org/officeDocument/2006/relationships/tags" Target="../tags/tag365.xml"/><Relationship Id="rId42" Type="http://schemas.openxmlformats.org/officeDocument/2006/relationships/oleObject" Target="../embeddings/oleObject21.bin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6" Type="http://schemas.openxmlformats.org/officeDocument/2006/relationships/tags" Target="../tags/tag347.xml"/><Relationship Id="rId29" Type="http://schemas.openxmlformats.org/officeDocument/2006/relationships/tags" Target="../tags/tag36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24" Type="http://schemas.openxmlformats.org/officeDocument/2006/relationships/tags" Target="../tags/tag355.xml"/><Relationship Id="rId32" Type="http://schemas.openxmlformats.org/officeDocument/2006/relationships/tags" Target="../tags/tag363.xml"/><Relationship Id="rId37" Type="http://schemas.openxmlformats.org/officeDocument/2006/relationships/tags" Target="../tags/tag368.xml"/><Relationship Id="rId40" Type="http://schemas.openxmlformats.org/officeDocument/2006/relationships/tags" Target="../tags/tag371.xml"/><Relationship Id="rId45" Type="http://schemas.openxmlformats.org/officeDocument/2006/relationships/image" Target="../media/image6.emf"/><Relationship Id="rId5" Type="http://schemas.openxmlformats.org/officeDocument/2006/relationships/tags" Target="../tags/tag336.xml"/><Relationship Id="rId15" Type="http://schemas.openxmlformats.org/officeDocument/2006/relationships/tags" Target="../tags/tag346.xml"/><Relationship Id="rId23" Type="http://schemas.openxmlformats.org/officeDocument/2006/relationships/tags" Target="../tags/tag354.xml"/><Relationship Id="rId28" Type="http://schemas.openxmlformats.org/officeDocument/2006/relationships/tags" Target="../tags/tag359.xml"/><Relationship Id="rId36" Type="http://schemas.openxmlformats.org/officeDocument/2006/relationships/tags" Target="../tags/tag367.xml"/><Relationship Id="rId10" Type="http://schemas.openxmlformats.org/officeDocument/2006/relationships/tags" Target="../tags/tag341.xml"/><Relationship Id="rId19" Type="http://schemas.openxmlformats.org/officeDocument/2006/relationships/tags" Target="../tags/tag350.xml"/><Relationship Id="rId31" Type="http://schemas.openxmlformats.org/officeDocument/2006/relationships/tags" Target="../tags/tag362.xml"/><Relationship Id="rId44" Type="http://schemas.openxmlformats.org/officeDocument/2006/relationships/oleObject" Target="../embeddings/oleObject22.bin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tags" Target="../tags/tag353.xml"/><Relationship Id="rId27" Type="http://schemas.openxmlformats.org/officeDocument/2006/relationships/tags" Target="../tags/tag358.xml"/><Relationship Id="rId30" Type="http://schemas.openxmlformats.org/officeDocument/2006/relationships/tags" Target="../tags/tag361.xml"/><Relationship Id="rId35" Type="http://schemas.openxmlformats.org/officeDocument/2006/relationships/tags" Target="../tags/tag366.xml"/><Relationship Id="rId43" Type="http://schemas.openxmlformats.org/officeDocument/2006/relationships/image" Target="../media/image5.emf"/><Relationship Id="rId8" Type="http://schemas.openxmlformats.org/officeDocument/2006/relationships/tags" Target="../tags/tag339.xml"/><Relationship Id="rId3" Type="http://schemas.openxmlformats.org/officeDocument/2006/relationships/tags" Target="../tags/tag334.xml"/><Relationship Id="rId12" Type="http://schemas.openxmlformats.org/officeDocument/2006/relationships/tags" Target="../tags/tag343.xml"/><Relationship Id="rId17" Type="http://schemas.openxmlformats.org/officeDocument/2006/relationships/tags" Target="../tags/tag348.xml"/><Relationship Id="rId25" Type="http://schemas.openxmlformats.org/officeDocument/2006/relationships/tags" Target="../tags/tag356.xml"/><Relationship Id="rId33" Type="http://schemas.openxmlformats.org/officeDocument/2006/relationships/tags" Target="../tags/tag364.xml"/><Relationship Id="rId38" Type="http://schemas.openxmlformats.org/officeDocument/2006/relationships/tags" Target="../tags/tag369.xml"/><Relationship Id="rId20" Type="http://schemas.openxmlformats.org/officeDocument/2006/relationships/tags" Target="../tags/tag351.xml"/><Relationship Id="rId4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3" Type="http://schemas.openxmlformats.org/officeDocument/2006/relationships/tags" Target="../tags/tag383.xml"/><Relationship Id="rId18" Type="http://schemas.openxmlformats.org/officeDocument/2006/relationships/tags" Target="../tags/tag388.xml"/><Relationship Id="rId26" Type="http://schemas.openxmlformats.org/officeDocument/2006/relationships/tags" Target="../tags/tag396.xml"/><Relationship Id="rId39" Type="http://schemas.openxmlformats.org/officeDocument/2006/relationships/tags" Target="../tags/tag409.xml"/><Relationship Id="rId21" Type="http://schemas.openxmlformats.org/officeDocument/2006/relationships/tags" Target="../tags/tag391.xml"/><Relationship Id="rId34" Type="http://schemas.openxmlformats.org/officeDocument/2006/relationships/tags" Target="../tags/tag404.xml"/><Relationship Id="rId42" Type="http://schemas.openxmlformats.org/officeDocument/2006/relationships/oleObject" Target="../embeddings/oleObject23.bin"/><Relationship Id="rId7" Type="http://schemas.openxmlformats.org/officeDocument/2006/relationships/tags" Target="../tags/tag377.xml"/><Relationship Id="rId2" Type="http://schemas.openxmlformats.org/officeDocument/2006/relationships/tags" Target="../tags/tag372.xml"/><Relationship Id="rId16" Type="http://schemas.openxmlformats.org/officeDocument/2006/relationships/tags" Target="../tags/tag386.xml"/><Relationship Id="rId29" Type="http://schemas.openxmlformats.org/officeDocument/2006/relationships/tags" Target="../tags/tag39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76.xml"/><Relationship Id="rId11" Type="http://schemas.openxmlformats.org/officeDocument/2006/relationships/tags" Target="../tags/tag381.xml"/><Relationship Id="rId24" Type="http://schemas.openxmlformats.org/officeDocument/2006/relationships/tags" Target="../tags/tag394.xml"/><Relationship Id="rId32" Type="http://schemas.openxmlformats.org/officeDocument/2006/relationships/tags" Target="../tags/tag402.xml"/><Relationship Id="rId37" Type="http://schemas.openxmlformats.org/officeDocument/2006/relationships/tags" Target="../tags/tag407.xml"/><Relationship Id="rId40" Type="http://schemas.openxmlformats.org/officeDocument/2006/relationships/tags" Target="../tags/tag410.xml"/><Relationship Id="rId45" Type="http://schemas.openxmlformats.org/officeDocument/2006/relationships/image" Target="../media/image9.emf"/><Relationship Id="rId5" Type="http://schemas.openxmlformats.org/officeDocument/2006/relationships/tags" Target="../tags/tag375.xml"/><Relationship Id="rId15" Type="http://schemas.openxmlformats.org/officeDocument/2006/relationships/tags" Target="../tags/tag385.xml"/><Relationship Id="rId23" Type="http://schemas.openxmlformats.org/officeDocument/2006/relationships/tags" Target="../tags/tag393.xml"/><Relationship Id="rId28" Type="http://schemas.openxmlformats.org/officeDocument/2006/relationships/tags" Target="../tags/tag398.xml"/><Relationship Id="rId36" Type="http://schemas.openxmlformats.org/officeDocument/2006/relationships/tags" Target="../tags/tag406.xml"/><Relationship Id="rId10" Type="http://schemas.openxmlformats.org/officeDocument/2006/relationships/tags" Target="../tags/tag380.xml"/><Relationship Id="rId19" Type="http://schemas.openxmlformats.org/officeDocument/2006/relationships/tags" Target="../tags/tag389.xml"/><Relationship Id="rId31" Type="http://schemas.openxmlformats.org/officeDocument/2006/relationships/tags" Target="../tags/tag401.xml"/><Relationship Id="rId44" Type="http://schemas.openxmlformats.org/officeDocument/2006/relationships/oleObject" Target="../embeddings/oleObject24.bin"/><Relationship Id="rId4" Type="http://schemas.openxmlformats.org/officeDocument/2006/relationships/tags" Target="../tags/tag374.xml"/><Relationship Id="rId9" Type="http://schemas.openxmlformats.org/officeDocument/2006/relationships/tags" Target="../tags/tag379.xml"/><Relationship Id="rId14" Type="http://schemas.openxmlformats.org/officeDocument/2006/relationships/tags" Target="../tags/tag384.xml"/><Relationship Id="rId22" Type="http://schemas.openxmlformats.org/officeDocument/2006/relationships/tags" Target="../tags/tag392.xml"/><Relationship Id="rId27" Type="http://schemas.openxmlformats.org/officeDocument/2006/relationships/tags" Target="../tags/tag397.xml"/><Relationship Id="rId30" Type="http://schemas.openxmlformats.org/officeDocument/2006/relationships/tags" Target="../tags/tag400.xml"/><Relationship Id="rId35" Type="http://schemas.openxmlformats.org/officeDocument/2006/relationships/tags" Target="../tags/tag405.xml"/><Relationship Id="rId43" Type="http://schemas.openxmlformats.org/officeDocument/2006/relationships/image" Target="../media/image5.emf"/><Relationship Id="rId8" Type="http://schemas.openxmlformats.org/officeDocument/2006/relationships/tags" Target="../tags/tag378.xml"/><Relationship Id="rId3" Type="http://schemas.openxmlformats.org/officeDocument/2006/relationships/tags" Target="../tags/tag373.xml"/><Relationship Id="rId12" Type="http://schemas.openxmlformats.org/officeDocument/2006/relationships/tags" Target="../tags/tag382.xml"/><Relationship Id="rId17" Type="http://schemas.openxmlformats.org/officeDocument/2006/relationships/tags" Target="../tags/tag387.xml"/><Relationship Id="rId25" Type="http://schemas.openxmlformats.org/officeDocument/2006/relationships/tags" Target="../tags/tag395.xml"/><Relationship Id="rId33" Type="http://schemas.openxmlformats.org/officeDocument/2006/relationships/tags" Target="../tags/tag403.xml"/><Relationship Id="rId38" Type="http://schemas.openxmlformats.org/officeDocument/2006/relationships/tags" Target="../tags/tag408.xml"/><Relationship Id="rId20" Type="http://schemas.openxmlformats.org/officeDocument/2006/relationships/tags" Target="../tags/tag390.xml"/><Relationship Id="rId4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image" Target="../media/image10.png"/><Relationship Id="rId2" Type="http://schemas.openxmlformats.org/officeDocument/2006/relationships/tags" Target="../tags/tag41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26" Type="http://schemas.openxmlformats.org/officeDocument/2006/relationships/tags" Target="../tags/tag437.xml"/><Relationship Id="rId39" Type="http://schemas.openxmlformats.org/officeDocument/2006/relationships/slideMaster" Target="../slideMasters/slideMaster6.xml"/><Relationship Id="rId21" Type="http://schemas.openxmlformats.org/officeDocument/2006/relationships/tags" Target="../tags/tag432.xml"/><Relationship Id="rId34" Type="http://schemas.openxmlformats.org/officeDocument/2006/relationships/tags" Target="../tags/tag445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0" Type="http://schemas.openxmlformats.org/officeDocument/2006/relationships/tags" Target="../tags/tag431.xml"/><Relationship Id="rId29" Type="http://schemas.openxmlformats.org/officeDocument/2006/relationships/tags" Target="../tags/tag440.xml"/><Relationship Id="rId41" Type="http://schemas.openxmlformats.org/officeDocument/2006/relationships/image" Target="../media/image5.emf"/><Relationship Id="rId1" Type="http://schemas.openxmlformats.org/officeDocument/2006/relationships/vmlDrawing" Target="../drawings/vmlDrawing21.vml"/><Relationship Id="rId6" Type="http://schemas.openxmlformats.org/officeDocument/2006/relationships/tags" Target="../tags/tag417.xml"/><Relationship Id="rId11" Type="http://schemas.openxmlformats.org/officeDocument/2006/relationships/tags" Target="../tags/tag422.xml"/><Relationship Id="rId24" Type="http://schemas.openxmlformats.org/officeDocument/2006/relationships/tags" Target="../tags/tag435.xml"/><Relationship Id="rId32" Type="http://schemas.openxmlformats.org/officeDocument/2006/relationships/tags" Target="../tags/tag443.xml"/><Relationship Id="rId37" Type="http://schemas.openxmlformats.org/officeDocument/2006/relationships/tags" Target="../tags/tag448.xml"/><Relationship Id="rId40" Type="http://schemas.openxmlformats.org/officeDocument/2006/relationships/oleObject" Target="../embeddings/oleObject26.bin"/><Relationship Id="rId5" Type="http://schemas.openxmlformats.org/officeDocument/2006/relationships/tags" Target="../tags/tag416.xml"/><Relationship Id="rId15" Type="http://schemas.openxmlformats.org/officeDocument/2006/relationships/tags" Target="../tags/tag426.xml"/><Relationship Id="rId23" Type="http://schemas.openxmlformats.org/officeDocument/2006/relationships/tags" Target="../tags/tag434.xml"/><Relationship Id="rId28" Type="http://schemas.openxmlformats.org/officeDocument/2006/relationships/tags" Target="../tags/tag439.xml"/><Relationship Id="rId36" Type="http://schemas.openxmlformats.org/officeDocument/2006/relationships/tags" Target="../tags/tag447.xml"/><Relationship Id="rId10" Type="http://schemas.openxmlformats.org/officeDocument/2006/relationships/tags" Target="../tags/tag421.xml"/><Relationship Id="rId19" Type="http://schemas.openxmlformats.org/officeDocument/2006/relationships/tags" Target="../tags/tag430.xml"/><Relationship Id="rId31" Type="http://schemas.openxmlformats.org/officeDocument/2006/relationships/tags" Target="../tags/tag442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tags" Target="../tags/tag425.xml"/><Relationship Id="rId22" Type="http://schemas.openxmlformats.org/officeDocument/2006/relationships/tags" Target="../tags/tag433.xml"/><Relationship Id="rId27" Type="http://schemas.openxmlformats.org/officeDocument/2006/relationships/tags" Target="../tags/tag438.xml"/><Relationship Id="rId30" Type="http://schemas.openxmlformats.org/officeDocument/2006/relationships/tags" Target="../tags/tag441.xml"/><Relationship Id="rId35" Type="http://schemas.openxmlformats.org/officeDocument/2006/relationships/tags" Target="../tags/tag446.xml"/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tags" Target="../tags/tag436.xml"/><Relationship Id="rId33" Type="http://schemas.openxmlformats.org/officeDocument/2006/relationships/tags" Target="../tags/tag444.xml"/><Relationship Id="rId38" Type="http://schemas.openxmlformats.org/officeDocument/2006/relationships/tags" Target="../tags/tag44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7" Type="http://schemas.openxmlformats.org/officeDocument/2006/relationships/image" Target="../media/image8.png"/><Relationship Id="rId2" Type="http://schemas.openxmlformats.org/officeDocument/2006/relationships/tags" Target="../tags/tag49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00.xml"/><Relationship Id="rId7" Type="http://schemas.openxmlformats.org/officeDocument/2006/relationships/image" Target="../media/image10.png"/><Relationship Id="rId2" Type="http://schemas.openxmlformats.org/officeDocument/2006/relationships/tags" Target="../tags/tag49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oleObject" Target="../embeddings/oleObject1.bin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image" Target="../media/image6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image" Target="../media/image5.emf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0" Type="http://schemas.openxmlformats.org/officeDocument/2006/relationships/tags" Target="../tags/tag19.xml"/><Relationship Id="rId4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седание ПР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41"/>
            <a:ext cx="8515350" cy="442912"/>
          </a:xfrm>
          <a:prstGeom prst="rect">
            <a:avLst/>
          </a:prstGeom>
        </p:spPr>
        <p:txBody>
          <a:bodyPr lIns="94945" tIns="47472" rIns="94945" bIns="47472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40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9218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56504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7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7" y="2464871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7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1626058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717085"/>
              </p:ext>
            </p:extLst>
          </p:nvPr>
        </p:nvGraphicFramePr>
        <p:xfrm>
          <a:off x="1621" y="1220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20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50" y="142540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33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77935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4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60" y="994523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809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0324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1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2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012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56504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7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7" y="2464871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7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16260580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717085"/>
              </p:ext>
            </p:extLst>
          </p:nvPr>
        </p:nvGraphicFramePr>
        <p:xfrm>
          <a:off x="1621" y="1220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20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50" y="142540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33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77935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4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60" y="994523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809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032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1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2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01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6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28" y="4842005"/>
            <a:ext cx="9143999" cy="31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717014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400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г. </a:t>
            </a:r>
            <a:r>
              <a:rPr lang="ru-RU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Н</a:t>
            </a:r>
            <a:r>
              <a:rPr lang="kk-KZ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у</a:t>
            </a:r>
            <a:r>
              <a:rPr lang="ru-RU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р-Султан, июн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9885"/>
            <a:ext cx="9144000" cy="31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717014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400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49" y="750266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34160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1" y="2948016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41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1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0508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309" tIns="45650" rIns="91309" bIns="45650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40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78261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1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79" y="4981581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8953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8953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344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9503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7011" y="4981581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8953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F8F6FAAD-B68C-4C14-A12C-64AE1811CFA5}" type="slidenum">
              <a:rPr lang="ru-RU" altLang="ru-RU" sz="800" b="1" kern="120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defTabSz="68953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altLang="ru-RU" sz="800" b="1" kern="12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3" y="5002243"/>
            <a:ext cx="2417763" cy="141287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9533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kern="1200" dirty="0">
              <a:solidFill>
                <a:prstClr val="white">
                  <a:lumMod val="65000"/>
                </a:prstClr>
              </a:solidFill>
              <a:ea typeface="+mn-ea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98" y="5002243"/>
            <a:ext cx="4721225" cy="141287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9533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kern="1200" dirty="0">
              <a:solidFill>
                <a:prstClr val="white">
                  <a:lumMod val="6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61054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19"/>
            <a:ext cx="9144000" cy="461523"/>
          </a:xfrm>
          <a:prstGeom prst="rect">
            <a:avLst/>
          </a:prstGeom>
          <a:noFill/>
          <a:ln>
            <a:noFill/>
          </a:ln>
        </p:spPr>
        <p:txBody>
          <a:bodyPr lIns="91309" tIns="45650" rIns="91309" bIns="4565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08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4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lang="ru-RU" sz="24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1021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30"/>
            <a:ext cx="9144000" cy="523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9" tIns="45650" rIns="91309" bIns="4565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08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8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ложение</a:t>
            </a:r>
            <a:endParaRPr lang="ru-RU" sz="28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7688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8"/>
            <a:ext cx="9144000" cy="584634"/>
          </a:xfrm>
          <a:prstGeom prst="rect">
            <a:avLst/>
          </a:prstGeom>
          <a:noFill/>
        </p:spPr>
        <p:txBody>
          <a:bodyPr wrap="square" lIns="91309" tIns="45650" rIns="91309" bIns="45650">
            <a:spAutoFit/>
          </a:bodyPr>
          <a:lstStyle/>
          <a:p>
            <a:pPr algn="ctr" defTabSz="690242">
              <a:buClrTx/>
              <a:buFontTx/>
              <a:buNone/>
              <a:defRPr/>
            </a:pPr>
            <a:r>
              <a:rPr lang="kk-KZ" sz="3200" b="1" kern="1200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!</a:t>
            </a:r>
            <a:endParaRPr lang="ru-RU" sz="3200" b="1" kern="1200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38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8"/>
            <a:ext cx="9144000" cy="584634"/>
          </a:xfrm>
          <a:prstGeom prst="rect">
            <a:avLst/>
          </a:prstGeom>
          <a:noFill/>
        </p:spPr>
        <p:txBody>
          <a:bodyPr wrap="square" lIns="91309" tIns="45650" rIns="91309" bIns="45650">
            <a:spAutoFit/>
          </a:bodyPr>
          <a:lstStyle/>
          <a:p>
            <a:pPr algn="ctr" defTabSz="690242">
              <a:buClrTx/>
              <a:buFontTx/>
              <a:buNone/>
              <a:defRPr/>
            </a:pPr>
            <a:r>
              <a:rPr lang="kk-KZ" sz="3200" b="1" kern="1200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!</a:t>
            </a:r>
            <a:endParaRPr lang="ru-RU" sz="3200" b="1" kern="1200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337157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678939" y="3"/>
            <a:ext cx="5465081" cy="4236753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lIns="91309" tIns="45650" rIns="91309" bIns="45650" rtlCol="0">
            <a:noAutofit/>
          </a:bodyPr>
          <a:lstStyle>
            <a:lvl1pPr>
              <a:defRPr sz="9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31AE415C-EC99-40B0-B602-603C5672BE10}" type="datetimeFigureOut">
              <a:rPr lang="en-US" sz="1800" kern="1200" smtClean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pPr defTabSz="689517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4/22/2021</a:t>
            </a:fld>
            <a:endParaRPr lang="en-US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fld id="{37DD94A5-F691-4F5C-985E-CF4A70701265}" type="slidenum">
              <a:rPr lang="en-US" altLang="ru-RU" sz="1800" kern="1200" smtClean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pPr defTabSz="689517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t>‹#›</a:t>
            </a:fld>
            <a:endParaRPr lang="en-US" altLang="ru-RU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230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6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2" y="2948017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42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2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3245163" y="4860305"/>
            <a:ext cx="2653678" cy="465203"/>
          </a:xfrm>
          <a:prstGeom prst="rect">
            <a:avLst/>
          </a:prstGeom>
          <a:noFill/>
        </p:spPr>
        <p:txBody>
          <a:bodyPr wrap="square" lIns="94945" tIns="47472" rIns="94945" bIns="47472" rtlCol="0">
            <a:spAutoFit/>
          </a:bodyPr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Нур-Султан, октябрь 2020 года</a:t>
            </a:r>
          </a:p>
        </p:txBody>
      </p:sp>
    </p:spTree>
    <p:extLst>
      <p:ext uri="{BB962C8B-B14F-4D97-AF65-F5344CB8AC3E}">
        <p14:creationId xmlns:p14="http://schemas.microsoft.com/office/powerpoint/2010/main" val="26016972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28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8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7" name="Group 86"/>
          <p:cNvGrpSpPr>
            <a:grpSpLocks/>
          </p:cNvGrpSpPr>
          <p:nvPr/>
        </p:nvGrpSpPr>
        <p:grpSpPr bwMode="auto">
          <a:xfrm>
            <a:off x="0" y="2788444"/>
            <a:ext cx="9144000" cy="2851547"/>
            <a:chOff x="0" y="3644162"/>
            <a:chExt cx="8961438" cy="3725682"/>
          </a:xfrm>
        </p:grpSpPr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8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4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6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7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2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3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5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6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8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9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50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1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2"/>
            <p:cNvSpPr>
              <a:spLocks/>
            </p:cNvSpPr>
            <p:nvPr/>
          </p:nvSpPr>
          <p:spPr bwMode="auto">
            <a:xfrm>
              <a:off x="7618390" y="3893059"/>
              <a:ext cx="1343048" cy="945810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5665076" y="4395521"/>
              <a:ext cx="1473736" cy="1109148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6529714" y="3805945"/>
              <a:ext cx="662773" cy="500906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4871615" y="3978618"/>
              <a:ext cx="271877" cy="301788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822613" y="4364409"/>
              <a:ext cx="1842463" cy="807360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3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2693099" y="3986396"/>
              <a:ext cx="852971" cy="866474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1330213" y="4722199"/>
              <a:ext cx="1220529" cy="73735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1114346" y="4185514"/>
              <a:ext cx="728117" cy="768470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5928785" y="3644162"/>
              <a:ext cx="484244" cy="354679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70"/>
            <p:cNvSpPr>
              <a:spLocks/>
            </p:cNvSpPr>
            <p:nvPr/>
          </p:nvSpPr>
          <p:spPr bwMode="auto">
            <a:xfrm>
              <a:off x="0" y="3852613"/>
              <a:ext cx="604430" cy="700024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1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4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66" name="Picture 145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323" y="473869"/>
            <a:ext cx="1440656" cy="144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177370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5978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06018D00-544C-4CEF-B102-096C58D0C283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sp>
        <p:nvSpPr>
          <p:cNvPr id="82" name="Slide Number"/>
          <p:cNvSpPr txBox="1">
            <a:spLocks/>
          </p:cNvSpPr>
          <p:nvPr/>
        </p:nvSpPr>
        <p:spPr>
          <a:xfrm>
            <a:off x="8739188" y="4988942"/>
            <a:ext cx="76944" cy="769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7747FD0C-38F4-4533-A9B3-21213C246A79}" type="slidenum">
              <a:rPr lang="ru-RU" sz="500" kern="1200" smtClean="0">
                <a:solidFill>
                  <a:srgbClr val="FFFFFF"/>
                </a:solidFill>
                <a:latin typeface="Arial" pitchFamily="34" charset="0"/>
                <a:ea typeface="ＭＳ Ｐゴシック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500" kern="1200">
              <a:solidFill>
                <a:srgbClr val="FFFFFF"/>
              </a:solidFill>
              <a:latin typeface="Arial" pitchFamily="34" charset="0"/>
              <a:ea typeface="ＭＳ Ｐゴシック"/>
              <a:cs typeface="+mn-cs"/>
            </a:endParaRPr>
          </a:p>
        </p:txBody>
      </p:sp>
      <p:sp>
        <p:nvSpPr>
          <p:cNvPr id="83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84" name="Group 6"/>
          <p:cNvGrpSpPr>
            <a:grpSpLocks/>
          </p:cNvGrpSpPr>
          <p:nvPr/>
        </p:nvGrpSpPr>
        <p:grpSpPr bwMode="auto">
          <a:xfrm rot="16200000">
            <a:off x="5545931" y="994172"/>
            <a:ext cx="5462588" cy="3028950"/>
            <a:chOff x="0" y="3644162"/>
            <a:chExt cx="8961438" cy="3725682"/>
          </a:xfrm>
        </p:grpSpPr>
        <p:sp>
          <p:nvSpPr>
            <p:cNvPr id="85" name="Freeform 10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6" name="Freeform 11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4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7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8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9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20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3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4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5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3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4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6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7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9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50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52"/>
            <p:cNvSpPr>
              <a:spLocks/>
            </p:cNvSpPr>
            <p:nvPr/>
          </p:nvSpPr>
          <p:spPr bwMode="auto">
            <a:xfrm>
              <a:off x="7625425" y="3893127"/>
              <a:ext cx="1341872" cy="946065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5"/>
            <p:cNvSpPr>
              <a:spLocks/>
            </p:cNvSpPr>
            <p:nvPr/>
          </p:nvSpPr>
          <p:spPr bwMode="auto">
            <a:xfrm>
              <a:off x="5670240" y="4395451"/>
              <a:ext cx="1474691" cy="1108624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6"/>
            <p:cNvSpPr>
              <a:spLocks/>
            </p:cNvSpPr>
            <p:nvPr/>
          </p:nvSpPr>
          <p:spPr bwMode="auto">
            <a:xfrm>
              <a:off x="6535521" y="3806722"/>
              <a:ext cx="662147" cy="49939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7"/>
            <p:cNvSpPr>
              <a:spLocks/>
            </p:cNvSpPr>
            <p:nvPr/>
          </p:nvSpPr>
          <p:spPr bwMode="auto">
            <a:xfrm>
              <a:off x="4877227" y="3978068"/>
              <a:ext cx="271499" cy="301687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8"/>
            <p:cNvSpPr>
              <a:spLocks/>
            </p:cNvSpPr>
            <p:nvPr/>
          </p:nvSpPr>
          <p:spPr bwMode="auto">
            <a:xfrm>
              <a:off x="3828339" y="4364695"/>
              <a:ext cx="1841900" cy="806939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62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63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65"/>
            <p:cNvSpPr>
              <a:spLocks/>
            </p:cNvSpPr>
            <p:nvPr/>
          </p:nvSpPr>
          <p:spPr bwMode="auto">
            <a:xfrm>
              <a:off x="2693511" y="3986855"/>
              <a:ext cx="851610" cy="865519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6"/>
            <p:cNvSpPr>
              <a:spLocks/>
            </p:cNvSpPr>
            <p:nvPr/>
          </p:nvSpPr>
          <p:spPr bwMode="auto">
            <a:xfrm>
              <a:off x="1336013" y="4723498"/>
              <a:ext cx="1220772" cy="73517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7"/>
            <p:cNvSpPr>
              <a:spLocks/>
            </p:cNvSpPr>
            <p:nvPr/>
          </p:nvSpPr>
          <p:spPr bwMode="auto">
            <a:xfrm>
              <a:off x="1119204" y="4184563"/>
              <a:ext cx="728556" cy="768861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8"/>
            <p:cNvSpPr>
              <a:spLocks/>
            </p:cNvSpPr>
            <p:nvPr/>
          </p:nvSpPr>
          <p:spPr bwMode="auto">
            <a:xfrm>
              <a:off x="5928066" y="3644163"/>
              <a:ext cx="484402" cy="355873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70"/>
            <p:cNvSpPr>
              <a:spLocks/>
            </p:cNvSpPr>
            <p:nvPr/>
          </p:nvSpPr>
          <p:spPr bwMode="auto">
            <a:xfrm>
              <a:off x="5861" y="3852121"/>
              <a:ext cx="603549" cy="700030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71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7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4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77643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87694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45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7" name="Graphic 1"/>
          <p:cNvSpPr/>
          <p:nvPr userDrawn="1"/>
        </p:nvSpPr>
        <p:spPr>
          <a:xfrm>
            <a:off x="1116806" y="2621757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8" name="Graphic 1"/>
          <p:cNvSpPr/>
          <p:nvPr userDrawn="1"/>
        </p:nvSpPr>
        <p:spPr>
          <a:xfrm>
            <a:off x="1764507" y="2621757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9" name="Graphic 1"/>
          <p:cNvSpPr/>
          <p:nvPr userDrawn="1"/>
        </p:nvSpPr>
        <p:spPr>
          <a:xfrm>
            <a:off x="1116806" y="3246839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0" name="Graphic 1"/>
          <p:cNvSpPr/>
          <p:nvPr userDrawn="1"/>
        </p:nvSpPr>
        <p:spPr>
          <a:xfrm>
            <a:off x="1764507" y="3246839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1" name="Graphic 1"/>
          <p:cNvSpPr/>
          <p:nvPr userDrawn="1"/>
        </p:nvSpPr>
        <p:spPr>
          <a:xfrm>
            <a:off x="1116806" y="3871913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2" name="Graphic 1"/>
          <p:cNvSpPr/>
          <p:nvPr userDrawn="1"/>
        </p:nvSpPr>
        <p:spPr>
          <a:xfrm>
            <a:off x="1764507" y="3871913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3" name="Graphic 1"/>
          <p:cNvSpPr/>
          <p:nvPr userDrawn="1"/>
        </p:nvSpPr>
        <p:spPr>
          <a:xfrm>
            <a:off x="1116806" y="4496995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4" name="Graphic 1"/>
          <p:cNvSpPr/>
          <p:nvPr userDrawn="1"/>
        </p:nvSpPr>
        <p:spPr>
          <a:xfrm>
            <a:off x="1764507" y="4496995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5" name="Graphic 1"/>
          <p:cNvSpPr/>
          <p:nvPr userDrawn="1"/>
        </p:nvSpPr>
        <p:spPr>
          <a:xfrm>
            <a:off x="1116806" y="0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6" name="Graphic 1"/>
          <p:cNvSpPr/>
          <p:nvPr userDrawn="1"/>
        </p:nvSpPr>
        <p:spPr>
          <a:xfrm>
            <a:off x="1764507" y="0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7" name="Rectangle 12"/>
          <p:cNvSpPr>
            <a:spLocks/>
          </p:cNvSpPr>
          <p:nvPr userDrawn="1"/>
        </p:nvSpPr>
        <p:spPr>
          <a:xfrm>
            <a:off x="1044182" y="2532460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8" name="Rectangle 53"/>
          <p:cNvSpPr>
            <a:spLocks/>
          </p:cNvSpPr>
          <p:nvPr userDrawn="1"/>
        </p:nvSpPr>
        <p:spPr>
          <a:xfrm>
            <a:off x="1044182" y="529829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9" name="Rectangle 57"/>
          <p:cNvSpPr>
            <a:spLocks/>
          </p:cNvSpPr>
          <p:nvPr userDrawn="1"/>
        </p:nvSpPr>
        <p:spPr>
          <a:xfrm>
            <a:off x="1110348" y="594502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20" name="Rectangle 58"/>
          <p:cNvSpPr>
            <a:spLocks/>
          </p:cNvSpPr>
          <p:nvPr userDrawn="1"/>
        </p:nvSpPr>
        <p:spPr>
          <a:xfrm>
            <a:off x="1110348" y="2597821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21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06079" y="914402"/>
            <a:ext cx="1493044" cy="143946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5"/>
            <a:ext cx="4975860" cy="1384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5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7734881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8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9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3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4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5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9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60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1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2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3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5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6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7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8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9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0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1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2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4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5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7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9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9AB4EE55-E5C6-4CC2-97C8-A425386F2845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0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A889CFEC-B143-4893-8F51-F12B8B5C7606}" type="datetimeFigureOut">
              <a:rPr lang="ru-RU" sz="1800" kern="1200">
                <a:latin typeface="Calibri" pitchFamily="34" charset="0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22.04.2021</a:t>
            </a:fld>
            <a:endParaRPr lang="ru-RU" sz="1800" kern="1200">
              <a:latin typeface="Calibri" pitchFamily="34" charset="0"/>
              <a:cs typeface="+mn-cs"/>
            </a:endParaRPr>
          </a:p>
        </p:txBody>
      </p:sp>
      <p:sp>
        <p:nvSpPr>
          <p:cNvPr id="8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latin typeface="Calibri" pitchFamily="34" charset="0"/>
              <a:cs typeface="+mn-cs"/>
            </a:endParaRPr>
          </a:p>
        </p:txBody>
      </p:sp>
      <p:sp>
        <p:nvSpPr>
          <p:cNvPr id="8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898989"/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DDE9680B-00AC-484E-AE97-78567D94439F}" type="slidenum">
              <a:rPr lang="ru-RU" sz="1800" kern="1200">
                <a:latin typeface="Calibri" pitchFamily="34" charset="0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1800" kern="1200">
              <a:latin typeface="Calibri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9611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28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8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7" name="Group 86"/>
          <p:cNvGrpSpPr>
            <a:grpSpLocks/>
          </p:cNvGrpSpPr>
          <p:nvPr/>
        </p:nvGrpSpPr>
        <p:grpSpPr bwMode="auto">
          <a:xfrm>
            <a:off x="0" y="2788444"/>
            <a:ext cx="9144000" cy="2851547"/>
            <a:chOff x="0" y="3644162"/>
            <a:chExt cx="8961438" cy="3725682"/>
          </a:xfrm>
        </p:grpSpPr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Freeform 28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2" name="Freeform 34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4" name="Freeform 36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5" name="Freeform 37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0" name="Freeform 42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1" name="Freeform 43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3" name="Freeform 45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4" name="Freeform 46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6" name="Freeform 48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7" name="Freeform 49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8" name="Freeform 50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9" name="Freeform 51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0" name="Freeform 52"/>
            <p:cNvSpPr>
              <a:spLocks/>
            </p:cNvSpPr>
            <p:nvPr/>
          </p:nvSpPr>
          <p:spPr bwMode="auto">
            <a:xfrm>
              <a:off x="7618390" y="3893059"/>
              <a:ext cx="1343048" cy="945810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5665076" y="4395521"/>
              <a:ext cx="1473736" cy="1109148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6529714" y="3805945"/>
              <a:ext cx="662773" cy="500906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4871615" y="3978618"/>
              <a:ext cx="271877" cy="301788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822613" y="4364409"/>
              <a:ext cx="1842463" cy="807360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6" name="Freeform 63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2693099" y="3986396"/>
              <a:ext cx="852971" cy="866474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1330213" y="4722199"/>
              <a:ext cx="1220529" cy="73735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1114346" y="4185514"/>
              <a:ext cx="728117" cy="768470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5928785" y="3644162"/>
              <a:ext cx="484244" cy="354679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1" name="Freeform 70"/>
            <p:cNvSpPr>
              <a:spLocks/>
            </p:cNvSpPr>
            <p:nvPr/>
          </p:nvSpPr>
          <p:spPr bwMode="auto">
            <a:xfrm>
              <a:off x="0" y="3852613"/>
              <a:ext cx="604430" cy="700024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2" name="Freeform 71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3" name="Freeform 7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4" name="Freeform 7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5" name="Freeform 74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</p:grpSp>
      <p:pic>
        <p:nvPicPr>
          <p:cNvPr id="66" name="Picture 145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323" y="473869"/>
            <a:ext cx="1440656" cy="144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</a:rPr>
              <a:t>Тип документа | Дата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7065908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95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06018D00-544C-4CEF-B102-096C58D0C283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graphicFrame>
        <p:nvGraphicFramePr>
          <p:cNvPr id="79" name="Object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sp>
        <p:nvSpPr>
          <p:cNvPr id="82" name="Slide Number"/>
          <p:cNvSpPr txBox="1">
            <a:spLocks/>
          </p:cNvSpPr>
          <p:nvPr/>
        </p:nvSpPr>
        <p:spPr>
          <a:xfrm>
            <a:off x="8739188" y="4988942"/>
            <a:ext cx="76944" cy="769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7747FD0C-38F4-4533-A9B3-21213C246A79}" type="slidenum">
              <a:rPr lang="ru-RU" sz="500" kern="1200" smtClean="0">
                <a:solidFill>
                  <a:srgbClr val="FFFFFF"/>
                </a:solidFill>
                <a:latin typeface="Arial" pitchFamily="34" charset="0"/>
                <a:ea typeface="ＭＳ Ｐゴシック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500" kern="120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83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</a:endParaRPr>
          </a:p>
        </p:txBody>
      </p:sp>
      <p:grpSp>
        <p:nvGrpSpPr>
          <p:cNvPr id="84" name="Group 6"/>
          <p:cNvGrpSpPr>
            <a:grpSpLocks/>
          </p:cNvGrpSpPr>
          <p:nvPr/>
        </p:nvGrpSpPr>
        <p:grpSpPr bwMode="auto">
          <a:xfrm rot="16200000">
            <a:off x="5545931" y="994172"/>
            <a:ext cx="5462588" cy="3028950"/>
            <a:chOff x="0" y="3644162"/>
            <a:chExt cx="8961438" cy="3725682"/>
          </a:xfrm>
        </p:grpSpPr>
        <p:sp>
          <p:nvSpPr>
            <p:cNvPr id="85" name="Freeform 10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6" name="Freeform 11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9" name="Freeform 14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2" name="Freeform 17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3" name="Freeform 18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4" name="Freeform 19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5" name="Freeform 20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8" name="Freeform 33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9" name="Freeform 34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0" name="Freeform 35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8" name="Freeform 43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9" name="Freeform 44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1" name="Freeform 46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2" name="Freeform 47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4" name="Freeform 49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5" name="Freeform 50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7" name="Freeform 52"/>
            <p:cNvSpPr>
              <a:spLocks/>
            </p:cNvSpPr>
            <p:nvPr/>
          </p:nvSpPr>
          <p:spPr bwMode="auto">
            <a:xfrm>
              <a:off x="7625425" y="3893127"/>
              <a:ext cx="1341872" cy="946065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8" name="Freeform 55"/>
            <p:cNvSpPr>
              <a:spLocks/>
            </p:cNvSpPr>
            <p:nvPr/>
          </p:nvSpPr>
          <p:spPr bwMode="auto">
            <a:xfrm>
              <a:off x="5670240" y="4395451"/>
              <a:ext cx="1474691" cy="1108624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9" name="Freeform 56"/>
            <p:cNvSpPr>
              <a:spLocks/>
            </p:cNvSpPr>
            <p:nvPr/>
          </p:nvSpPr>
          <p:spPr bwMode="auto">
            <a:xfrm>
              <a:off x="6535521" y="3806722"/>
              <a:ext cx="662147" cy="49939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0" name="Freeform 57"/>
            <p:cNvSpPr>
              <a:spLocks/>
            </p:cNvSpPr>
            <p:nvPr/>
          </p:nvSpPr>
          <p:spPr bwMode="auto">
            <a:xfrm>
              <a:off x="4877227" y="3978068"/>
              <a:ext cx="271499" cy="301687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1" name="Freeform 58"/>
            <p:cNvSpPr>
              <a:spLocks/>
            </p:cNvSpPr>
            <p:nvPr/>
          </p:nvSpPr>
          <p:spPr bwMode="auto">
            <a:xfrm>
              <a:off x="3828339" y="4364695"/>
              <a:ext cx="1841900" cy="806939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2" name="Freeform 62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3" name="Freeform 63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4" name="Freeform 65"/>
            <p:cNvSpPr>
              <a:spLocks/>
            </p:cNvSpPr>
            <p:nvPr/>
          </p:nvSpPr>
          <p:spPr bwMode="auto">
            <a:xfrm>
              <a:off x="2693511" y="3986855"/>
              <a:ext cx="851610" cy="865519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5" name="Freeform 66"/>
            <p:cNvSpPr>
              <a:spLocks/>
            </p:cNvSpPr>
            <p:nvPr/>
          </p:nvSpPr>
          <p:spPr bwMode="auto">
            <a:xfrm>
              <a:off x="1336013" y="4723498"/>
              <a:ext cx="1220772" cy="73517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6" name="Freeform 67"/>
            <p:cNvSpPr>
              <a:spLocks/>
            </p:cNvSpPr>
            <p:nvPr/>
          </p:nvSpPr>
          <p:spPr bwMode="auto">
            <a:xfrm>
              <a:off x="1119204" y="4184563"/>
              <a:ext cx="728556" cy="768861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7" name="Freeform 68"/>
            <p:cNvSpPr>
              <a:spLocks/>
            </p:cNvSpPr>
            <p:nvPr/>
          </p:nvSpPr>
          <p:spPr bwMode="auto">
            <a:xfrm>
              <a:off x="5928066" y="3644163"/>
              <a:ext cx="484402" cy="355873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8" name="Freeform 70"/>
            <p:cNvSpPr>
              <a:spLocks/>
            </p:cNvSpPr>
            <p:nvPr/>
          </p:nvSpPr>
          <p:spPr bwMode="auto">
            <a:xfrm>
              <a:off x="5861" y="3852121"/>
              <a:ext cx="603549" cy="700030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9" name="Freeform 71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0" name="Freeform 7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1" name="Freeform 7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2" name="Freeform 74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83302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2100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тчетная встреч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2"/>
          <a:stretch/>
        </p:blipFill>
        <p:spPr>
          <a:xfrm>
            <a:off x="683048" y="678736"/>
            <a:ext cx="7777911" cy="4471910"/>
          </a:xfrm>
          <a:prstGeom prst="rect">
            <a:avLst/>
          </a:prstGeom>
        </p:spPr>
      </p:pic>
      <p:pic>
        <p:nvPicPr>
          <p:cNvPr id="3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251BE105-D96A-49BA-8048-7182F1D03118}"/>
              </a:ext>
            </a:extLst>
          </p:cNvPr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83923" y="183090"/>
            <a:ext cx="507586" cy="50721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791501" y="194311"/>
            <a:ext cx="2571750" cy="557536"/>
          </a:xfrm>
          <a:prstGeom prst="rect">
            <a:avLst/>
          </a:prstGeom>
          <a:noFill/>
        </p:spPr>
        <p:txBody>
          <a:bodyPr wrap="square" lIns="94945" tIns="47472" rIns="94945" bIns="47472" rtlCol="0">
            <a:spAutoFit/>
          </a:bodyPr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ИНИСТЕРСТВО </a:t>
            </a:r>
          </a:p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ЦИОНАЛЬНОЙ ЭКОНОМИКИ </a:t>
            </a:r>
          </a:p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СПУБЛИКИ КАЗАХСТАН</a:t>
            </a: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7541296" y="256702"/>
            <a:ext cx="1260872" cy="552347"/>
            <a:chOff x="10055061" y="384489"/>
            <a:chExt cx="1681163" cy="736460"/>
          </a:xfrm>
        </p:grpSpPr>
        <p:sp>
          <p:nvSpPr>
            <p:cNvPr id="6" name="TextBox 3"/>
            <p:cNvSpPr txBox="1">
              <a:spLocks noChangeArrowheads="1"/>
            </p:cNvSpPr>
            <p:nvPr/>
          </p:nvSpPr>
          <p:spPr bwMode="auto">
            <a:xfrm>
              <a:off x="10055061" y="587471"/>
              <a:ext cx="1681163" cy="533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r" defTabSz="717014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altLang="ru-RU" sz="1000" b="1" kern="120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ЮНЬ 2020 ГОД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344389" y="384489"/>
              <a:ext cx="1391835" cy="3282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717014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altLang="ru-RU" sz="1000" b="1" kern="1200" dirty="0">
                  <a:solidFill>
                    <a:srgbClr val="AE99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УР-СУЛТА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0720811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45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</a:rPr>
              <a:t>Тип документа | Дата</a:t>
            </a:r>
          </a:p>
        </p:txBody>
      </p:sp>
      <p:sp>
        <p:nvSpPr>
          <p:cNvPr id="7" name="Graphic 1"/>
          <p:cNvSpPr/>
          <p:nvPr userDrawn="1"/>
        </p:nvSpPr>
        <p:spPr>
          <a:xfrm>
            <a:off x="1116806" y="2621757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8" name="Graphic 1"/>
          <p:cNvSpPr/>
          <p:nvPr userDrawn="1"/>
        </p:nvSpPr>
        <p:spPr>
          <a:xfrm>
            <a:off x="1764507" y="2621757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9" name="Graphic 1"/>
          <p:cNvSpPr/>
          <p:nvPr userDrawn="1"/>
        </p:nvSpPr>
        <p:spPr>
          <a:xfrm>
            <a:off x="1116806" y="3246839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0" name="Graphic 1"/>
          <p:cNvSpPr/>
          <p:nvPr userDrawn="1"/>
        </p:nvSpPr>
        <p:spPr>
          <a:xfrm>
            <a:off x="1764507" y="3246839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1" name="Graphic 1"/>
          <p:cNvSpPr/>
          <p:nvPr userDrawn="1"/>
        </p:nvSpPr>
        <p:spPr>
          <a:xfrm>
            <a:off x="1116806" y="3871913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2" name="Graphic 1"/>
          <p:cNvSpPr/>
          <p:nvPr userDrawn="1"/>
        </p:nvSpPr>
        <p:spPr>
          <a:xfrm>
            <a:off x="1764507" y="3871913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3" name="Graphic 1"/>
          <p:cNvSpPr/>
          <p:nvPr userDrawn="1"/>
        </p:nvSpPr>
        <p:spPr>
          <a:xfrm>
            <a:off x="1116806" y="4496995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4" name="Graphic 1"/>
          <p:cNvSpPr/>
          <p:nvPr userDrawn="1"/>
        </p:nvSpPr>
        <p:spPr>
          <a:xfrm>
            <a:off x="1764507" y="4496995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5" name="Graphic 1"/>
          <p:cNvSpPr/>
          <p:nvPr userDrawn="1"/>
        </p:nvSpPr>
        <p:spPr>
          <a:xfrm>
            <a:off x="1116806" y="0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6" name="Graphic 1"/>
          <p:cNvSpPr/>
          <p:nvPr userDrawn="1"/>
        </p:nvSpPr>
        <p:spPr>
          <a:xfrm>
            <a:off x="1764507" y="0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7" name="Rectangle 12"/>
          <p:cNvSpPr>
            <a:spLocks/>
          </p:cNvSpPr>
          <p:nvPr userDrawn="1"/>
        </p:nvSpPr>
        <p:spPr>
          <a:xfrm>
            <a:off x="1044182" y="2532460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18" name="Rectangle 53"/>
          <p:cNvSpPr>
            <a:spLocks/>
          </p:cNvSpPr>
          <p:nvPr userDrawn="1"/>
        </p:nvSpPr>
        <p:spPr>
          <a:xfrm>
            <a:off x="1044182" y="529829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19" name="Rectangle 57"/>
          <p:cNvSpPr>
            <a:spLocks/>
          </p:cNvSpPr>
          <p:nvPr userDrawn="1"/>
        </p:nvSpPr>
        <p:spPr>
          <a:xfrm>
            <a:off x="1110348" y="594502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20" name="Rectangle 58"/>
          <p:cNvSpPr>
            <a:spLocks/>
          </p:cNvSpPr>
          <p:nvPr userDrawn="1"/>
        </p:nvSpPr>
        <p:spPr>
          <a:xfrm>
            <a:off x="1110348" y="2597821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pic>
        <p:nvPicPr>
          <p:cNvPr id="21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06079" y="914402"/>
            <a:ext cx="1493044" cy="143946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5"/>
            <a:ext cx="4975860" cy="1384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5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8501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3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8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9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3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4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5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8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9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60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1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2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3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5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6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7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8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9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70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1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2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4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5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7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9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9AB4EE55-E5C6-4CC2-97C8-A425386F2845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0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A889CFEC-B143-4893-8F51-F12B8B5C7606}" type="datetimeFigureOut">
              <a:rPr lang="ru-RU" sz="1800" kern="1200">
                <a:latin typeface="Calibri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22.04.2021</a:t>
            </a:fld>
            <a:endParaRPr lang="ru-RU" sz="1800" kern="1200">
              <a:latin typeface="Calibri" pitchFamily="34" charset="0"/>
            </a:endParaRPr>
          </a:p>
        </p:txBody>
      </p:sp>
      <p:sp>
        <p:nvSpPr>
          <p:cNvPr id="8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latin typeface="Calibri" pitchFamily="34" charset="0"/>
            </a:endParaRPr>
          </a:p>
        </p:txBody>
      </p:sp>
      <p:sp>
        <p:nvSpPr>
          <p:cNvPr id="8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898989"/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DDE9680B-00AC-484E-AE97-78567D94439F}" type="slidenum">
              <a:rPr lang="ru-RU" sz="1800" kern="1200">
                <a:latin typeface="Calibri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1800" kern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788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9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19971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ижняя лин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6848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kern="12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kern="12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256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пматериа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0" y="2373359"/>
            <a:ext cx="9144000" cy="492440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6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lang="ru-RU" sz="26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789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_2.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3" y="4981581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29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kern="12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29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kern="12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5434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827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436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_2.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095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2913742" y="2"/>
            <a:ext cx="6230265" cy="4831080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416940" y="0"/>
            <a:ext cx="5629795" cy="51435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rtlCol="0" anchor="ctr"/>
          <a:lstStyle/>
          <a:p>
            <a:pPr algn="ctr" defTabSz="95599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2500" kern="1200" dirty="0">
              <a:solidFill>
                <a:prstClr val="white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99754" y="4070543"/>
            <a:ext cx="6041983" cy="29051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20679" y="4689021"/>
            <a:ext cx="4095749" cy="35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5599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г. Н</a:t>
            </a:r>
            <a:r>
              <a:rPr lang="kk-KZ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у</a:t>
            </a:r>
            <a:r>
              <a:rPr lang="ru-RU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р-Султан, 2020 год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3052" y="266828"/>
            <a:ext cx="1439333" cy="144144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6237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2A95867B-759E-42B2-A8AE-3AA18CCE66F7}" type="datetime1">
              <a:rPr lang="ru-RU" sz="14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90546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2.04.2021</a:t>
            </a:fld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400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1</a:t>
            </a:r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4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90546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85489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322686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=""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=""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=""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=""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=""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=""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=""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=""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=""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=""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=""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=""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=""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=""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=""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=""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=""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=""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=""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=""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=""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=""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=""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=""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=""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=""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=""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=""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=""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=""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=""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=""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=""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=""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=""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=""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=""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=""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=""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=""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=""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=""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=""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=""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=""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=""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=""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=""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=""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=""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=""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=""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=""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=""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=""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=""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=""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=""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=""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42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25854211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436429"/>
              </p:ext>
            </p:extLst>
          </p:nvPr>
        </p:nvGraphicFramePr>
        <p:xfrm>
          <a:off x="1621" y="1218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8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2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201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45013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12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94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=""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=""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=""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=""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=""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=""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=""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=""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=""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=""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=""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=""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=""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=""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=""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=""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=""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=""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=""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=""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=""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=""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=""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=""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=""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=""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=""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=""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=""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=""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=""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=""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=""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=""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=""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=""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=""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=""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=""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=""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=""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=""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=""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=""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=""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=""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=""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=""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=""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=""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6266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7978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071543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50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0"/>
            <a:ext cx="4975860" cy="15388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0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42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38" name="Graphic 1">
            <a:extLst>
              <a:ext uri="{FF2B5EF4-FFF2-40B4-BE49-F238E27FC236}">
                <a16:creationId xmlns="" xmlns:a16="http://schemas.microsoft.com/office/drawing/2014/main" id="{CDAC25EF-AFEA-4439-A9DB-1FDCE9105BD0}"/>
              </a:ext>
            </a:extLst>
          </p:cNvPr>
          <p:cNvSpPr/>
          <p:nvPr userDrawn="1"/>
        </p:nvSpPr>
        <p:spPr>
          <a:xfrm>
            <a:off x="1117044" y="262136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39" name="Graphic 1">
            <a:extLst>
              <a:ext uri="{FF2B5EF4-FFF2-40B4-BE49-F238E27FC236}">
                <a16:creationId xmlns="" xmlns:a16="http://schemas.microsoft.com/office/drawing/2014/main" id="{D7287174-A699-43D7-BF52-983F2C87A585}"/>
              </a:ext>
            </a:extLst>
          </p:cNvPr>
          <p:cNvSpPr/>
          <p:nvPr userDrawn="1"/>
        </p:nvSpPr>
        <p:spPr>
          <a:xfrm>
            <a:off x="1763940" y="262136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0" name="Graphic 1">
            <a:extLst>
              <a:ext uri="{FF2B5EF4-FFF2-40B4-BE49-F238E27FC236}">
                <a16:creationId xmlns="" xmlns:a16="http://schemas.microsoft.com/office/drawing/2014/main" id="{39DC19A3-2CA9-466B-9E56-5CB1315CDC62}"/>
              </a:ext>
            </a:extLst>
          </p:cNvPr>
          <p:cNvSpPr/>
          <p:nvPr userDrawn="1"/>
        </p:nvSpPr>
        <p:spPr>
          <a:xfrm>
            <a:off x="1117044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1" name="Graphic 1">
            <a:extLst>
              <a:ext uri="{FF2B5EF4-FFF2-40B4-BE49-F238E27FC236}">
                <a16:creationId xmlns="" xmlns:a16="http://schemas.microsoft.com/office/drawing/2014/main" id="{43A6C331-DAB7-4EF7-8CD1-6D5C0CBEFD88}"/>
              </a:ext>
            </a:extLst>
          </p:cNvPr>
          <p:cNvSpPr/>
          <p:nvPr userDrawn="1"/>
        </p:nvSpPr>
        <p:spPr>
          <a:xfrm>
            <a:off x="1763940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4" name="Graphic 1">
            <a:extLst>
              <a:ext uri="{FF2B5EF4-FFF2-40B4-BE49-F238E27FC236}">
                <a16:creationId xmlns="" xmlns:a16="http://schemas.microsoft.com/office/drawing/2014/main" id="{9CB97DE5-C22F-4254-84F1-ABC3F0984C2F}"/>
              </a:ext>
            </a:extLst>
          </p:cNvPr>
          <p:cNvSpPr/>
          <p:nvPr userDrawn="1"/>
        </p:nvSpPr>
        <p:spPr>
          <a:xfrm>
            <a:off x="1117044" y="387152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7" name="Graphic 1">
            <a:extLst>
              <a:ext uri="{FF2B5EF4-FFF2-40B4-BE49-F238E27FC236}">
                <a16:creationId xmlns="" xmlns:a16="http://schemas.microsoft.com/office/drawing/2014/main" id="{F71A59EC-7D40-411C-B49E-5A2FD5BA283D}"/>
              </a:ext>
            </a:extLst>
          </p:cNvPr>
          <p:cNvSpPr/>
          <p:nvPr userDrawn="1"/>
        </p:nvSpPr>
        <p:spPr>
          <a:xfrm>
            <a:off x="1763940" y="387152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0" name="Graphic 1">
            <a:extLst>
              <a:ext uri="{FF2B5EF4-FFF2-40B4-BE49-F238E27FC236}">
                <a16:creationId xmlns="" xmlns:a16="http://schemas.microsoft.com/office/drawing/2014/main" id="{9FD6EF18-D52A-4935-9D27-8F881CD42963}"/>
              </a:ext>
            </a:extLst>
          </p:cNvPr>
          <p:cNvSpPr/>
          <p:nvPr userDrawn="1"/>
        </p:nvSpPr>
        <p:spPr>
          <a:xfrm>
            <a:off x="1117044" y="449660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3" name="Graphic 1">
            <a:extLst>
              <a:ext uri="{FF2B5EF4-FFF2-40B4-BE49-F238E27FC236}">
                <a16:creationId xmlns="" xmlns:a16="http://schemas.microsoft.com/office/drawing/2014/main" id="{6933ADBB-F65B-498E-B689-1582A5779D00}"/>
              </a:ext>
            </a:extLst>
          </p:cNvPr>
          <p:cNvSpPr/>
          <p:nvPr userDrawn="1"/>
        </p:nvSpPr>
        <p:spPr>
          <a:xfrm>
            <a:off x="1763940" y="449660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5" name="Graphic 1">
            <a:extLst>
              <a:ext uri="{FF2B5EF4-FFF2-40B4-BE49-F238E27FC236}">
                <a16:creationId xmlns="" xmlns:a16="http://schemas.microsoft.com/office/drawing/2014/main" id="{05499356-B769-4009-900C-44722D6E5039}"/>
              </a:ext>
            </a:extLst>
          </p:cNvPr>
          <p:cNvSpPr/>
          <p:nvPr userDrawn="1"/>
        </p:nvSpPr>
        <p:spPr>
          <a:xfrm>
            <a:off x="1117044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6" name="Graphic 1">
            <a:extLst>
              <a:ext uri="{FF2B5EF4-FFF2-40B4-BE49-F238E27FC236}">
                <a16:creationId xmlns="" xmlns:a16="http://schemas.microsoft.com/office/drawing/2014/main" id="{5A8BED98-3D99-449E-8C3E-EE16F1B6D207}"/>
              </a:ext>
            </a:extLst>
          </p:cNvPr>
          <p:cNvSpPr/>
          <p:nvPr userDrawn="1"/>
        </p:nvSpPr>
        <p:spPr>
          <a:xfrm>
            <a:off x="1763940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0" name="Rectangle 12">
            <a:extLst>
              <a:ext uri="{FF2B5EF4-FFF2-40B4-BE49-F238E27FC236}">
                <a16:creationId xmlns="" xmlns:a16="http://schemas.microsoft.com/office/drawing/2014/main" id="{457F297D-4A85-4716-AA06-0A79157FF9B9}"/>
              </a:ext>
            </a:extLst>
          </p:cNvPr>
          <p:cNvSpPr>
            <a:spLocks/>
          </p:cNvSpPr>
          <p:nvPr userDrawn="1"/>
        </p:nvSpPr>
        <p:spPr>
          <a:xfrm>
            <a:off x="1043940" y="2532803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1" name="Rectangle 53">
            <a:extLst>
              <a:ext uri="{FF2B5EF4-FFF2-40B4-BE49-F238E27FC236}">
                <a16:creationId xmlns="" xmlns:a16="http://schemas.microsoft.com/office/drawing/2014/main" id="{8F561599-B680-4576-98E5-285D18786EC6}"/>
              </a:ext>
            </a:extLst>
          </p:cNvPr>
          <p:cNvSpPr>
            <a:spLocks/>
          </p:cNvSpPr>
          <p:nvPr userDrawn="1"/>
        </p:nvSpPr>
        <p:spPr>
          <a:xfrm>
            <a:off x="1043940" y="529484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2" name="Rectangle 57">
            <a:extLst>
              <a:ext uri="{FF2B5EF4-FFF2-40B4-BE49-F238E27FC236}">
                <a16:creationId xmlns="" xmlns:a16="http://schemas.microsoft.com/office/drawing/2014/main" id="{DF005AC7-6DC5-42AD-8E68-A320BBF87316}"/>
              </a:ext>
            </a:extLst>
          </p:cNvPr>
          <p:cNvSpPr>
            <a:spLocks/>
          </p:cNvSpPr>
          <p:nvPr userDrawn="1"/>
        </p:nvSpPr>
        <p:spPr>
          <a:xfrm>
            <a:off x="1110339" y="594498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3" name="Rectangle 58">
            <a:extLst>
              <a:ext uri="{FF2B5EF4-FFF2-40B4-BE49-F238E27FC236}">
                <a16:creationId xmlns="" xmlns:a16="http://schemas.microsoft.com/office/drawing/2014/main" id="{7AF18E3E-0A70-432C-9948-04775BE43EC4}"/>
              </a:ext>
            </a:extLst>
          </p:cNvPr>
          <p:cNvSpPr>
            <a:spLocks/>
          </p:cNvSpPr>
          <p:nvPr userDrawn="1"/>
        </p:nvSpPr>
        <p:spPr>
          <a:xfrm>
            <a:off x="1110339" y="2597817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64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251BE105-D96A-49BA-8048-7182F1D03118}"/>
              </a:ext>
            </a:extLst>
          </p:cNvPr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" y="914130"/>
            <a:ext cx="1493340" cy="14400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0751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2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7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2008776-C22A-4A16-AB6F-801F56279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4945" tIns="47472" rIns="94945" bIns="4747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2844D0E-8400-40E7-9D07-693B01D791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4945" tIns="47472" rIns="94945" bIns="4747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BB78427-3246-4661-B473-C0F706A1C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4945" tIns="47472" rIns="94945" bIns="47472"/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16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CBEA02A-9CE3-4BD8-BB6E-990B81569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4945" tIns="47472" rIns="94945" bIns="47472"/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16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05CF9EF-F68F-4461-8DE0-6C7307A19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4945" tIns="47472" rIns="94945" bIns="47472"/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fld id="{07584760-F567-4627-B5B2-11FED3D6631F}" type="slidenum">
              <a:rPr lang="en-US" sz="1600" kern="1200" smtClean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pPr defTabSz="717014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t>‹#›</a:t>
            </a:fld>
            <a:endParaRPr lang="en-US" sz="16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1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1973BE1F-CEEA-491C-8EBB-AE18928BD57A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B4815F53-5F0C-45E4-B0C1-A99F9E70C698}"/>
              </a:ext>
            </a:extLst>
          </p:cNvPr>
          <p:cNvSpPr/>
          <p:nvPr userDrawn="1"/>
        </p:nvSpPr>
        <p:spPr>
          <a:xfrm>
            <a:off x="0" y="4867281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" y="2023366"/>
            <a:ext cx="9143999" cy="10738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/>
            </a:lvl1pPr>
            <a:lvl2pPr marL="288663" indent="0" algn="ctr">
              <a:buNone/>
              <a:defRPr sz="1300"/>
            </a:lvl2pPr>
            <a:lvl3pPr marL="577310" indent="0" algn="ctr">
              <a:buNone/>
              <a:defRPr sz="1100"/>
            </a:lvl3pPr>
            <a:lvl4pPr marL="865985" indent="0" algn="ctr">
              <a:buNone/>
              <a:defRPr sz="1000"/>
            </a:lvl4pPr>
            <a:lvl5pPr marL="1154642" indent="0" algn="ctr">
              <a:buNone/>
              <a:defRPr sz="1000"/>
            </a:lvl5pPr>
            <a:lvl6pPr marL="1443296" indent="0" algn="ctr">
              <a:buNone/>
              <a:defRPr sz="1000"/>
            </a:lvl6pPr>
            <a:lvl7pPr marL="1731959" indent="0" algn="ctr">
              <a:buNone/>
              <a:defRPr sz="1000"/>
            </a:lvl7pPr>
            <a:lvl8pPr marL="2020607" indent="0" algn="ctr">
              <a:buNone/>
              <a:defRPr sz="1000"/>
            </a:lvl8pPr>
            <a:lvl9pPr marL="2309282" indent="0" algn="ctr">
              <a:buNone/>
              <a:defRPr sz="10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877027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1ACE3-F98F-4A82-87B0-0E43FBA61DF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DDAD8-3DF9-44B9-BAE9-2FE03D5CD0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5F5C6F2F-FC23-4801-A506-B620A654EF6B}"/>
              </a:ext>
            </a:extLst>
          </p:cNvPr>
          <p:cNvSpPr/>
          <p:nvPr userDrawn="1"/>
        </p:nvSpPr>
        <p:spPr>
          <a:xfrm>
            <a:off x="8858271" y="4980384"/>
            <a:ext cx="245269" cy="121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fld id="{EB7D0EC8-A34A-4938-9ECA-7403D69C73EB}" type="slidenum">
              <a:rPr lang="ru-RU" altLang="ru-RU" sz="600" b="1" kern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579">
                <a:buClrTx/>
                <a:buFontTx/>
                <a:buNone/>
                <a:defRPr/>
              </a:pPr>
              <a:t>‹#›</a:t>
            </a:fld>
            <a:endParaRPr lang="ru-RU" altLang="ru-RU" sz="600" b="1" kern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066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79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6080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9" Type="http://schemas.openxmlformats.org/officeDocument/2006/relationships/tags" Target="../tags/tag71.xml"/><Relationship Id="rId21" Type="http://schemas.openxmlformats.org/officeDocument/2006/relationships/tags" Target="../tags/tag53.xml"/><Relationship Id="rId34" Type="http://schemas.openxmlformats.org/officeDocument/2006/relationships/tags" Target="../tags/tag66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50" Type="http://schemas.openxmlformats.org/officeDocument/2006/relationships/tags" Target="../tags/tag82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48.xml"/><Relationship Id="rId29" Type="http://schemas.openxmlformats.org/officeDocument/2006/relationships/tags" Target="../tags/tag61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image" Target="../media/image5.emf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8" Type="http://schemas.openxmlformats.org/officeDocument/2006/relationships/tags" Target="../tags/tag40.xml"/><Relationship Id="rId51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20" Type="http://schemas.openxmlformats.org/officeDocument/2006/relationships/tags" Target="../tags/tag52.xml"/><Relationship Id="rId41" Type="http://schemas.openxmlformats.org/officeDocument/2006/relationships/tags" Target="../tags/tag73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9" Type="http://schemas.openxmlformats.org/officeDocument/2006/relationships/tags" Target="../tags/tag120.xml"/><Relationship Id="rId21" Type="http://schemas.openxmlformats.org/officeDocument/2006/relationships/tags" Target="../tags/tag102.xml"/><Relationship Id="rId34" Type="http://schemas.openxmlformats.org/officeDocument/2006/relationships/tags" Target="../tags/tag115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50" Type="http://schemas.openxmlformats.org/officeDocument/2006/relationships/tags" Target="../tags/tag131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97.xml"/><Relationship Id="rId29" Type="http://schemas.openxmlformats.org/officeDocument/2006/relationships/tags" Target="../tags/tag11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image" Target="../media/image5.emf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8" Type="http://schemas.openxmlformats.org/officeDocument/2006/relationships/tags" Target="../tags/tag89.xml"/><Relationship Id="rId51" Type="http://schemas.openxmlformats.org/officeDocument/2006/relationships/oleObject" Target="../embeddings/oleObject7.bin"/><Relationship Id="rId3" Type="http://schemas.openxmlformats.org/officeDocument/2006/relationships/slideLayout" Target="../slideLayouts/slideLayout17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20" Type="http://schemas.openxmlformats.org/officeDocument/2006/relationships/tags" Target="../tags/tag101.xml"/><Relationship Id="rId41" Type="http://schemas.openxmlformats.org/officeDocument/2006/relationships/tags" Target="../tags/tag122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tags" Target="../tags/tag155.xml"/><Relationship Id="rId39" Type="http://schemas.openxmlformats.org/officeDocument/2006/relationships/tags" Target="../tags/tag168.xml"/><Relationship Id="rId21" Type="http://schemas.openxmlformats.org/officeDocument/2006/relationships/tags" Target="../tags/tag150.xml"/><Relationship Id="rId34" Type="http://schemas.openxmlformats.org/officeDocument/2006/relationships/tags" Target="../tags/tag163.xml"/><Relationship Id="rId42" Type="http://schemas.openxmlformats.org/officeDocument/2006/relationships/tags" Target="../tags/tag171.xml"/><Relationship Id="rId47" Type="http://schemas.openxmlformats.org/officeDocument/2006/relationships/image" Target="../media/image5.emf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45.xml"/><Relationship Id="rId29" Type="http://schemas.openxmlformats.org/officeDocument/2006/relationships/tags" Target="../tags/tag1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tags" Target="../tags/tag161.xml"/><Relationship Id="rId37" Type="http://schemas.openxmlformats.org/officeDocument/2006/relationships/tags" Target="../tags/tag166.xml"/><Relationship Id="rId40" Type="http://schemas.openxmlformats.org/officeDocument/2006/relationships/tags" Target="../tags/tag169.xml"/><Relationship Id="rId45" Type="http://schemas.openxmlformats.org/officeDocument/2006/relationships/tags" Target="../tags/tag174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tags" Target="../tags/tag157.xml"/><Relationship Id="rId36" Type="http://schemas.openxmlformats.org/officeDocument/2006/relationships/tags" Target="../tags/tag165.xml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tags" Target="../tags/tag160.xml"/><Relationship Id="rId44" Type="http://schemas.openxmlformats.org/officeDocument/2006/relationships/tags" Target="../tags/tag17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tags" Target="../tags/tag156.xml"/><Relationship Id="rId30" Type="http://schemas.openxmlformats.org/officeDocument/2006/relationships/tags" Target="../tags/tag159.xml"/><Relationship Id="rId35" Type="http://schemas.openxmlformats.org/officeDocument/2006/relationships/tags" Target="../tags/tag164.xml"/><Relationship Id="rId43" Type="http://schemas.openxmlformats.org/officeDocument/2006/relationships/tags" Target="../tags/tag172.xml"/><Relationship Id="rId8" Type="http://schemas.openxmlformats.org/officeDocument/2006/relationships/vmlDrawing" Target="../drawings/vmlDrawing10.vml"/><Relationship Id="rId3" Type="http://schemas.openxmlformats.org/officeDocument/2006/relationships/slideLayout" Target="../slideLayouts/slideLayout32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33" Type="http://schemas.openxmlformats.org/officeDocument/2006/relationships/tags" Target="../tags/tag162.xml"/><Relationship Id="rId38" Type="http://schemas.openxmlformats.org/officeDocument/2006/relationships/tags" Target="../tags/tag167.xml"/><Relationship Id="rId46" Type="http://schemas.openxmlformats.org/officeDocument/2006/relationships/oleObject" Target="../embeddings/oleObject11.bin"/><Relationship Id="rId20" Type="http://schemas.openxmlformats.org/officeDocument/2006/relationships/tags" Target="../tags/tag149.xml"/><Relationship Id="rId41" Type="http://schemas.openxmlformats.org/officeDocument/2006/relationships/tags" Target="../tags/tag170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298.xml"/><Relationship Id="rId18" Type="http://schemas.openxmlformats.org/officeDocument/2006/relationships/tags" Target="../tags/tag303.xml"/><Relationship Id="rId26" Type="http://schemas.openxmlformats.org/officeDocument/2006/relationships/tags" Target="../tags/tag311.xml"/><Relationship Id="rId39" Type="http://schemas.openxmlformats.org/officeDocument/2006/relationships/tags" Target="../tags/tag324.xml"/><Relationship Id="rId21" Type="http://schemas.openxmlformats.org/officeDocument/2006/relationships/tags" Target="../tags/tag306.xml"/><Relationship Id="rId34" Type="http://schemas.openxmlformats.org/officeDocument/2006/relationships/tags" Target="../tags/tag319.xml"/><Relationship Id="rId42" Type="http://schemas.openxmlformats.org/officeDocument/2006/relationships/tags" Target="../tags/tag327.xml"/><Relationship Id="rId47" Type="http://schemas.openxmlformats.org/officeDocument/2006/relationships/image" Target="../media/image5.emf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301.xml"/><Relationship Id="rId29" Type="http://schemas.openxmlformats.org/officeDocument/2006/relationships/tags" Target="../tags/tag31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296.xml"/><Relationship Id="rId24" Type="http://schemas.openxmlformats.org/officeDocument/2006/relationships/tags" Target="../tags/tag309.xml"/><Relationship Id="rId32" Type="http://schemas.openxmlformats.org/officeDocument/2006/relationships/tags" Target="../tags/tag317.xml"/><Relationship Id="rId37" Type="http://schemas.openxmlformats.org/officeDocument/2006/relationships/tags" Target="../tags/tag322.xml"/><Relationship Id="rId40" Type="http://schemas.openxmlformats.org/officeDocument/2006/relationships/tags" Target="../tags/tag325.xml"/><Relationship Id="rId45" Type="http://schemas.openxmlformats.org/officeDocument/2006/relationships/tags" Target="../tags/tag330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300.xml"/><Relationship Id="rId23" Type="http://schemas.openxmlformats.org/officeDocument/2006/relationships/tags" Target="../tags/tag308.xml"/><Relationship Id="rId28" Type="http://schemas.openxmlformats.org/officeDocument/2006/relationships/tags" Target="../tags/tag313.xml"/><Relationship Id="rId36" Type="http://schemas.openxmlformats.org/officeDocument/2006/relationships/tags" Target="../tags/tag321.xml"/><Relationship Id="rId10" Type="http://schemas.openxmlformats.org/officeDocument/2006/relationships/tags" Target="../tags/tag295.xml"/><Relationship Id="rId19" Type="http://schemas.openxmlformats.org/officeDocument/2006/relationships/tags" Target="../tags/tag304.xml"/><Relationship Id="rId31" Type="http://schemas.openxmlformats.org/officeDocument/2006/relationships/tags" Target="../tags/tag316.xml"/><Relationship Id="rId44" Type="http://schemas.openxmlformats.org/officeDocument/2006/relationships/tags" Target="../tags/tag329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294.xml"/><Relationship Id="rId14" Type="http://schemas.openxmlformats.org/officeDocument/2006/relationships/tags" Target="../tags/tag299.xml"/><Relationship Id="rId22" Type="http://schemas.openxmlformats.org/officeDocument/2006/relationships/tags" Target="../tags/tag307.xml"/><Relationship Id="rId27" Type="http://schemas.openxmlformats.org/officeDocument/2006/relationships/tags" Target="../tags/tag312.xml"/><Relationship Id="rId30" Type="http://schemas.openxmlformats.org/officeDocument/2006/relationships/tags" Target="../tags/tag315.xml"/><Relationship Id="rId35" Type="http://schemas.openxmlformats.org/officeDocument/2006/relationships/tags" Target="../tags/tag320.xml"/><Relationship Id="rId43" Type="http://schemas.openxmlformats.org/officeDocument/2006/relationships/tags" Target="../tags/tag328.xml"/><Relationship Id="rId8" Type="http://schemas.openxmlformats.org/officeDocument/2006/relationships/vmlDrawing" Target="../drawings/vmlDrawing16.vml"/><Relationship Id="rId3" Type="http://schemas.openxmlformats.org/officeDocument/2006/relationships/slideLayout" Target="../slideLayouts/slideLayout38.xml"/><Relationship Id="rId12" Type="http://schemas.openxmlformats.org/officeDocument/2006/relationships/tags" Target="../tags/tag297.xml"/><Relationship Id="rId17" Type="http://schemas.openxmlformats.org/officeDocument/2006/relationships/tags" Target="../tags/tag302.xml"/><Relationship Id="rId25" Type="http://schemas.openxmlformats.org/officeDocument/2006/relationships/tags" Target="../tags/tag310.xml"/><Relationship Id="rId33" Type="http://schemas.openxmlformats.org/officeDocument/2006/relationships/tags" Target="../tags/tag318.xml"/><Relationship Id="rId38" Type="http://schemas.openxmlformats.org/officeDocument/2006/relationships/tags" Target="../tags/tag323.xml"/><Relationship Id="rId46" Type="http://schemas.openxmlformats.org/officeDocument/2006/relationships/oleObject" Target="../embeddings/oleObject19.bin"/><Relationship Id="rId20" Type="http://schemas.openxmlformats.org/officeDocument/2006/relationships/tags" Target="../tags/tag305.xml"/><Relationship Id="rId41" Type="http://schemas.openxmlformats.org/officeDocument/2006/relationships/tags" Target="../tags/tag3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tags" Target="../tags/tag454.xml"/><Relationship Id="rId18" Type="http://schemas.openxmlformats.org/officeDocument/2006/relationships/tags" Target="../tags/tag459.xml"/><Relationship Id="rId26" Type="http://schemas.openxmlformats.org/officeDocument/2006/relationships/tags" Target="../tags/tag467.xml"/><Relationship Id="rId39" Type="http://schemas.openxmlformats.org/officeDocument/2006/relationships/tags" Target="../tags/tag480.xml"/><Relationship Id="rId21" Type="http://schemas.openxmlformats.org/officeDocument/2006/relationships/tags" Target="../tags/tag462.xml"/><Relationship Id="rId34" Type="http://schemas.openxmlformats.org/officeDocument/2006/relationships/tags" Target="../tags/tag475.xml"/><Relationship Id="rId42" Type="http://schemas.openxmlformats.org/officeDocument/2006/relationships/tags" Target="../tags/tag483.xml"/><Relationship Id="rId47" Type="http://schemas.openxmlformats.org/officeDocument/2006/relationships/tags" Target="../tags/tag488.xml"/><Relationship Id="rId50" Type="http://schemas.openxmlformats.org/officeDocument/2006/relationships/tags" Target="../tags/tag49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457.xml"/><Relationship Id="rId29" Type="http://schemas.openxmlformats.org/officeDocument/2006/relationships/tags" Target="../tags/tag470.xml"/><Relationship Id="rId11" Type="http://schemas.openxmlformats.org/officeDocument/2006/relationships/tags" Target="../tags/tag452.xml"/><Relationship Id="rId24" Type="http://schemas.openxmlformats.org/officeDocument/2006/relationships/tags" Target="../tags/tag465.xml"/><Relationship Id="rId32" Type="http://schemas.openxmlformats.org/officeDocument/2006/relationships/tags" Target="../tags/tag473.xml"/><Relationship Id="rId37" Type="http://schemas.openxmlformats.org/officeDocument/2006/relationships/tags" Target="../tags/tag478.xml"/><Relationship Id="rId40" Type="http://schemas.openxmlformats.org/officeDocument/2006/relationships/tags" Target="../tags/tag481.xml"/><Relationship Id="rId45" Type="http://schemas.openxmlformats.org/officeDocument/2006/relationships/tags" Target="../tags/tag486.xml"/><Relationship Id="rId53" Type="http://schemas.openxmlformats.org/officeDocument/2006/relationships/image" Target="../media/image5.emf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451.xml"/><Relationship Id="rId19" Type="http://schemas.openxmlformats.org/officeDocument/2006/relationships/tags" Target="../tags/tag460.xml"/><Relationship Id="rId31" Type="http://schemas.openxmlformats.org/officeDocument/2006/relationships/tags" Target="../tags/tag472.xml"/><Relationship Id="rId44" Type="http://schemas.openxmlformats.org/officeDocument/2006/relationships/tags" Target="../tags/tag485.xml"/><Relationship Id="rId52" Type="http://schemas.openxmlformats.org/officeDocument/2006/relationships/oleObject" Target="../embeddings/oleObject27.bin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450.xml"/><Relationship Id="rId14" Type="http://schemas.openxmlformats.org/officeDocument/2006/relationships/tags" Target="../tags/tag455.xml"/><Relationship Id="rId22" Type="http://schemas.openxmlformats.org/officeDocument/2006/relationships/tags" Target="../tags/tag463.xml"/><Relationship Id="rId27" Type="http://schemas.openxmlformats.org/officeDocument/2006/relationships/tags" Target="../tags/tag468.xml"/><Relationship Id="rId30" Type="http://schemas.openxmlformats.org/officeDocument/2006/relationships/tags" Target="../tags/tag471.xml"/><Relationship Id="rId35" Type="http://schemas.openxmlformats.org/officeDocument/2006/relationships/tags" Target="../tags/tag476.xml"/><Relationship Id="rId43" Type="http://schemas.openxmlformats.org/officeDocument/2006/relationships/tags" Target="../tags/tag484.xml"/><Relationship Id="rId48" Type="http://schemas.openxmlformats.org/officeDocument/2006/relationships/tags" Target="../tags/tag489.xml"/><Relationship Id="rId8" Type="http://schemas.openxmlformats.org/officeDocument/2006/relationships/vmlDrawing" Target="../drawings/vmlDrawing22.vml"/><Relationship Id="rId51" Type="http://schemas.openxmlformats.org/officeDocument/2006/relationships/tags" Target="../tags/tag492.xml"/><Relationship Id="rId3" Type="http://schemas.openxmlformats.org/officeDocument/2006/relationships/slideLayout" Target="../slideLayouts/slideLayout53.xml"/><Relationship Id="rId12" Type="http://schemas.openxmlformats.org/officeDocument/2006/relationships/tags" Target="../tags/tag453.xml"/><Relationship Id="rId17" Type="http://schemas.openxmlformats.org/officeDocument/2006/relationships/tags" Target="../tags/tag458.xml"/><Relationship Id="rId25" Type="http://schemas.openxmlformats.org/officeDocument/2006/relationships/tags" Target="../tags/tag466.xml"/><Relationship Id="rId33" Type="http://schemas.openxmlformats.org/officeDocument/2006/relationships/tags" Target="../tags/tag474.xml"/><Relationship Id="rId38" Type="http://schemas.openxmlformats.org/officeDocument/2006/relationships/tags" Target="../tags/tag479.xml"/><Relationship Id="rId46" Type="http://schemas.openxmlformats.org/officeDocument/2006/relationships/tags" Target="../tags/tag487.xml"/><Relationship Id="rId20" Type="http://schemas.openxmlformats.org/officeDocument/2006/relationships/tags" Target="../tags/tag461.xml"/><Relationship Id="rId41" Type="http://schemas.openxmlformats.org/officeDocument/2006/relationships/tags" Target="../tags/tag48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5" Type="http://schemas.openxmlformats.org/officeDocument/2006/relationships/tags" Target="../tags/tag456.xml"/><Relationship Id="rId23" Type="http://schemas.openxmlformats.org/officeDocument/2006/relationships/tags" Target="../tags/tag464.xml"/><Relationship Id="rId28" Type="http://schemas.openxmlformats.org/officeDocument/2006/relationships/tags" Target="../tags/tag469.xml"/><Relationship Id="rId36" Type="http://schemas.openxmlformats.org/officeDocument/2006/relationships/tags" Target="../tags/tag477.xml"/><Relationship Id="rId49" Type="http://schemas.openxmlformats.org/officeDocument/2006/relationships/tags" Target="../tags/tag4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7250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845" r:id="rId7"/>
    <p:sldLayoutId id="2147483846" r:id="rId8"/>
    <p:sldLayoutId id="2147483847" r:id="rId9"/>
  </p:sldLayoutIdLst>
  <p:hf sldNum="0" hdr="0" ftr="0" dt="0"/>
  <p:txStyles>
    <p:titleStyle>
      <a:lvl1pPr algn="l" defTabSz="949419" rtl="0" eaLnBrk="1" latinLnBrk="0" hangingPunct="1">
        <a:lnSpc>
          <a:spcPct val="90000"/>
        </a:lnSpc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7355" indent="-237355" algn="l" defTabSz="949419" rtl="0" eaLnBrk="1" latinLnBrk="0" hangingPunct="1">
        <a:lnSpc>
          <a:spcPct val="90000"/>
        </a:lnSpc>
        <a:spcBef>
          <a:spcPts val="104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12064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7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6148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136191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610917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085621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60335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3504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710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41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12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8834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3557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8272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2978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768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78310741"/>
              </p:ext>
            </p:extLst>
          </p:nvPr>
        </p:nvGraphicFramePr>
        <p:xfrm>
          <a:off x="4" y="2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1" imgW="360" imgH="360" progId="">
                  <p:embed/>
                </p:oleObj>
              </mc:Choice>
              <mc:Fallback>
                <p:oleObj name="think-cell Slide" r:id="rId51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25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4" y="2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50" y="142540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502" y="58020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50" y="42465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30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11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5612" indent="-465612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138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63726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89" y="250911"/>
            <a:ext cx="361125" cy="120033"/>
            <a:chOff x="8329938" y="285750"/>
            <a:chExt cx="410880" cy="15685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38" y="285750"/>
              <a:ext cx="410880" cy="1568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38" y="285750"/>
              <a:ext cx="0" cy="15685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38" y="442605"/>
              <a:ext cx="410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7" y="4841901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7" y="208417"/>
            <a:ext cx="1044707" cy="587175"/>
            <a:chOff x="7607284" y="279400"/>
            <a:chExt cx="1023848" cy="76731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2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61" y="208531"/>
            <a:ext cx="730458" cy="791258"/>
            <a:chOff x="5894005" y="919828"/>
            <a:chExt cx="715873" cy="1034010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4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0" y="20921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38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15" tIns="27515" rIns="27515" bIns="27515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17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508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35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49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6061311" y="2305882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4997" tIns="54997" rIns="54997" bIns="549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6080498" y="2653990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519452" y="2653991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4997" tIns="54997" rIns="54997" bIns="549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3886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1988078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91" y="4918495"/>
            <a:ext cx="309426" cy="215302"/>
          </a:xfrm>
          <a:prstGeom prst="rect">
            <a:avLst/>
          </a:prstGeom>
        </p:spPr>
        <p:txBody>
          <a:bodyPr wrap="none" lIns="91304" tIns="45650" rIns="91304" bIns="4565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4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5" r:id="rId5"/>
  </p:sldLayoutIdLst>
  <p:txStyles>
    <p:titleStyle>
      <a:lvl1pPr algn="l" defTabSz="683886" rtl="0" eaLnBrk="1" fontAlgn="base" hangingPunct="1">
        <a:spcBef>
          <a:spcPct val="0"/>
        </a:spcBef>
        <a:spcAft>
          <a:spcPct val="0"/>
        </a:spcAft>
        <a:tabLst>
          <a:tab pos="206144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209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8420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765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686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7950" indent="-146735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209" indent="-200072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256" indent="-11883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209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842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765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686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608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5301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4522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3743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78310741"/>
              </p:ext>
            </p:extLst>
          </p:nvPr>
        </p:nvGraphicFramePr>
        <p:xfrm>
          <a:off x="4" y="2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1" imgW="360" imgH="360" progId="">
                  <p:embed/>
                </p:oleObj>
              </mc:Choice>
              <mc:Fallback>
                <p:oleObj name="think-cell Slide" r:id="rId51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25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4" y="2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50" y="142540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502" y="58020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50" y="42465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30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11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5612" indent="-465612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138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63726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89" y="250911"/>
            <a:ext cx="361125" cy="120033"/>
            <a:chOff x="8329938" y="285750"/>
            <a:chExt cx="410880" cy="15685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38" y="285750"/>
              <a:ext cx="410880" cy="1568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38" y="285750"/>
              <a:ext cx="0" cy="15685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38" y="442605"/>
              <a:ext cx="410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7" y="4841901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7" y="208417"/>
            <a:ext cx="1044707" cy="587175"/>
            <a:chOff x="7607284" y="279400"/>
            <a:chExt cx="1023848" cy="76731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2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61" y="208531"/>
            <a:ext cx="730458" cy="791258"/>
            <a:chOff x="5894005" y="919828"/>
            <a:chExt cx="715873" cy="1034010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4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0" y="20921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38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15" tIns="27515" rIns="27515" bIns="27515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17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508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35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49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6061311" y="2305882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4997" tIns="54997" rIns="54997" bIns="549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6080498" y="2653990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519452" y="2653991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4997" tIns="54997" rIns="54997" bIns="549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3886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1988078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91" y="4918495"/>
            <a:ext cx="309426" cy="215302"/>
          </a:xfrm>
          <a:prstGeom prst="rect">
            <a:avLst/>
          </a:prstGeom>
        </p:spPr>
        <p:txBody>
          <a:bodyPr wrap="none" lIns="91304" tIns="45650" rIns="91304" bIns="4565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4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2" r:id="rId5"/>
  </p:sldLayoutIdLst>
  <p:txStyles>
    <p:titleStyle>
      <a:lvl1pPr algn="l" defTabSz="683886" rtl="0" eaLnBrk="1" fontAlgn="base" hangingPunct="1">
        <a:spcBef>
          <a:spcPct val="0"/>
        </a:spcBef>
        <a:spcAft>
          <a:spcPct val="0"/>
        </a:spcAft>
        <a:tabLst>
          <a:tab pos="206144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209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8420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765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686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7950" indent="-146735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209" indent="-200072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256" indent="-11883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209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842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765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686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608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5301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4522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3743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13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24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651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976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302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199" indent="-171199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3596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558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37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901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7900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1156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4406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7658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247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511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9767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023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264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9532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2778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6028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5023" y="142876"/>
            <a:ext cx="8793956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103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5023" y="1493048"/>
            <a:ext cx="419219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grpSp>
        <p:nvGrpSpPr>
          <p:cNvPr id="1034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035" name="Sticker" hidden="1"/>
          <p:cNvGrpSpPr>
            <a:grpSpLocks/>
          </p:cNvGrpSpPr>
          <p:nvPr/>
        </p:nvGrpSpPr>
        <p:grpSpPr bwMode="auto">
          <a:xfrm>
            <a:off x="8662352" y="251218"/>
            <a:ext cx="306622" cy="104644"/>
            <a:chOff x="8391571" y="285750"/>
            <a:chExt cx="349226" cy="13786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571" y="285750"/>
              <a:ext cx="0" cy="13786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571" y="423612"/>
              <a:ext cx="34922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03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8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9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1059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0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1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2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3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1046" name="Moon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77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1048" name="DoubleChevr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81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049" name="DoubleChevron2" hidden="1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84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/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/>
          <p:cNvGrpSpPr/>
          <p:nvPr>
            <p:custDataLst>
              <p:tags r:id="rId18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1052" name="Прямоугольник 3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D0ACC9DC-C327-429A-9823-5F80F4A59751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33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</p:sldLayoutIdLst>
  <p:txStyles>
    <p:titleStyle>
      <a:lvl1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2pPr>
      <a:lvl3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3pPr>
      <a:lvl4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4pPr>
      <a:lvl5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5pPr>
      <a:lvl6pPr marL="31477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6pPr>
      <a:lvl7pPr marL="629553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7pPr>
      <a:lvl8pPr marL="94433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8pPr>
      <a:lvl9pPr marL="1259112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132160" indent="-132160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314325" indent="-17978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422672" indent="-105966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515541" indent="-89297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6pPr>
      <a:lvl7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7pPr>
      <a:lvl8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8pPr>
      <a:lvl9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1477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2955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4433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5911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57389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88866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0344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1822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5023" y="142876"/>
            <a:ext cx="8793956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sp>
        <p:nvSpPr>
          <p:cNvPr id="103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5023" y="1493048"/>
            <a:ext cx="419219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grpSp>
        <p:nvGrpSpPr>
          <p:cNvPr id="1034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035" name="Sticker" hidden="1"/>
          <p:cNvGrpSpPr>
            <a:grpSpLocks/>
          </p:cNvGrpSpPr>
          <p:nvPr/>
        </p:nvGrpSpPr>
        <p:grpSpPr bwMode="auto">
          <a:xfrm>
            <a:off x="8662352" y="251218"/>
            <a:ext cx="306622" cy="104644"/>
            <a:chOff x="8391571" y="285750"/>
            <a:chExt cx="349226" cy="13786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571" y="285750"/>
              <a:ext cx="0" cy="13786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571" y="423612"/>
              <a:ext cx="34922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03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1038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1039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1059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0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1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2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3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70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1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2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3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74" name="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75" name="Bracket" hidden="1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1046" name="Moon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77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1048" name="DoubleChevr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81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82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1049" name="DoubleChevron2" hidden="1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84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85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86" name="Flow" hidden="1"/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89" name="SplitFlow" hidden="1"/>
          <p:cNvGrpSpPr/>
          <p:nvPr>
            <p:custDataLst>
              <p:tags r:id="rId18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92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1052" name="Прямоугольник 3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D0ACC9DC-C327-429A-9823-5F80F4A59751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170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</p:sldLayoutIdLst>
  <p:txStyles>
    <p:titleStyle>
      <a:lvl1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2pPr>
      <a:lvl3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3pPr>
      <a:lvl4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4pPr>
      <a:lvl5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5pPr>
      <a:lvl6pPr marL="31477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6pPr>
      <a:lvl7pPr marL="629553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7pPr>
      <a:lvl8pPr marL="94433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8pPr>
      <a:lvl9pPr marL="1259112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132160" indent="-132160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314325" indent="-17978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422672" indent="-105966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515541" indent="-89297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6pPr>
      <a:lvl7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7pPr>
      <a:lvl8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8pPr>
      <a:lvl9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1477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2955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4433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5911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57389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88866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0344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1822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876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</p:sldLayoutIdLst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9811256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7" y="142512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4" y="57996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7" y="42462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2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05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334" indent="-466334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212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63694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40" y="250872"/>
            <a:ext cx="361125" cy="120033"/>
            <a:chOff x="8329912" y="285750"/>
            <a:chExt cx="410886" cy="15685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12" y="285750"/>
              <a:ext cx="410886" cy="15685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2" y="285750"/>
              <a:ext cx="0" cy="15685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2" y="442606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5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313" y="208413"/>
            <a:ext cx="1044707" cy="587172"/>
            <a:chOff x="7607284" y="279400"/>
            <a:chExt cx="1023848" cy="767310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825501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8" y="208509"/>
            <a:ext cx="730458" cy="791261"/>
            <a:chOff x="5894005" y="919828"/>
            <a:chExt cx="715874" cy="103401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919828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189703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461165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732630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23" y="20920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5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02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81" tIns="55081" rIns="55081" bIns="55081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89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81" tIns="55081" rIns="55081" bIns="55081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2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81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279" y="2305849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81" tIns="55081" rIns="55081" bIns="55081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465" y="2653959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6519452" y="2653963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81" tIns="55081" rIns="55081" bIns="550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4935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79" y="4918470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02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</p:sldLayoutIdLst>
  <p:txStyles>
    <p:titleStyle>
      <a:lvl1pPr algn="l" defTabSz="684935" rtl="0" eaLnBrk="1" fontAlgn="base" hangingPunct="1">
        <a:spcBef>
          <a:spcPct val="0"/>
        </a:spcBef>
        <a:spcAft>
          <a:spcPct val="0"/>
        </a:spcAft>
        <a:tabLst>
          <a:tab pos="206453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751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9503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9262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9013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66" indent="-146951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751" indent="-200380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979" indent="-119013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751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503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262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9013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768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520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8275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026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25.png"/><Relationship Id="rId3" Type="http://schemas.openxmlformats.org/officeDocument/2006/relationships/tags" Target="../tags/tag507.xml"/><Relationship Id="rId7" Type="http://schemas.openxmlformats.org/officeDocument/2006/relationships/image" Target="../media/image14.emf"/><Relationship Id="rId12" Type="http://schemas.openxmlformats.org/officeDocument/2006/relationships/image" Target="../media/image31.png"/><Relationship Id="rId2" Type="http://schemas.openxmlformats.org/officeDocument/2006/relationships/tags" Target="../tags/tag506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30.tiff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9.xml"/><Relationship Id="rId9" Type="http://schemas.microsoft.com/office/2007/relationships/hdphoto" Target="../media/hdphoto3.wdp"/><Relationship Id="rId14" Type="http://schemas.openxmlformats.org/officeDocument/2006/relationships/image" Target="../media/image26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7.png"/><Relationship Id="rId3" Type="http://schemas.openxmlformats.org/officeDocument/2006/relationships/tags" Target="../tags/tag509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35.png"/><Relationship Id="rId2" Type="http://schemas.openxmlformats.org/officeDocument/2006/relationships/tags" Target="../tags/tag508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34.png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37.png"/><Relationship Id="rId10" Type="http://schemas.microsoft.com/office/2007/relationships/hdphoto" Target="../media/hdphoto5.wdp"/><Relationship Id="rId4" Type="http://schemas.openxmlformats.org/officeDocument/2006/relationships/tags" Target="../tags/tag510.xml"/><Relationship Id="rId9" Type="http://schemas.openxmlformats.org/officeDocument/2006/relationships/image" Target="../media/image33.png"/><Relationship Id="rId1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12.xml"/><Relationship Id="rId7" Type="http://schemas.openxmlformats.org/officeDocument/2006/relationships/image" Target="../media/image14.emf"/><Relationship Id="rId2" Type="http://schemas.openxmlformats.org/officeDocument/2006/relationships/tags" Target="../tags/tag51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41.gif"/><Relationship Id="rId18" Type="http://schemas.openxmlformats.org/officeDocument/2006/relationships/image" Target="../media/image22.png"/><Relationship Id="rId3" Type="http://schemas.openxmlformats.org/officeDocument/2006/relationships/tags" Target="../tags/tag514.xml"/><Relationship Id="rId7" Type="http://schemas.openxmlformats.org/officeDocument/2006/relationships/image" Target="../media/image40.png"/><Relationship Id="rId12" Type="http://schemas.openxmlformats.org/officeDocument/2006/relationships/image" Target="../media/image14.emf"/><Relationship Id="rId17" Type="http://schemas.openxmlformats.org/officeDocument/2006/relationships/image" Target="../media/image45.png"/><Relationship Id="rId2" Type="http://schemas.openxmlformats.org/officeDocument/2006/relationships/tags" Target="../tags/tag513.xml"/><Relationship Id="rId16" Type="http://schemas.openxmlformats.org/officeDocument/2006/relationships/image" Target="../media/image44.png"/><Relationship Id="rId20" Type="http://schemas.openxmlformats.org/officeDocument/2006/relationships/image" Target="../media/image47.png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9.png"/><Relationship Id="rId11" Type="http://schemas.openxmlformats.org/officeDocument/2006/relationships/oleObject" Target="../embeddings/oleObject37.bin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43.png"/><Relationship Id="rId10" Type="http://schemas.openxmlformats.org/officeDocument/2006/relationships/image" Target="../media/image28.png"/><Relationship Id="rId19" Type="http://schemas.openxmlformats.org/officeDocument/2006/relationships/image" Target="../media/image46.png"/><Relationship Id="rId4" Type="http://schemas.openxmlformats.org/officeDocument/2006/relationships/slideLayout" Target="../slideLayouts/slideLayout9.xml"/><Relationship Id="rId9" Type="http://schemas.microsoft.com/office/2007/relationships/hdphoto" Target="../media/hdphoto3.wdp"/><Relationship Id="rId1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516.xml"/><Relationship Id="rId7" Type="http://schemas.openxmlformats.org/officeDocument/2006/relationships/image" Target="../media/image14.emf"/><Relationship Id="rId2" Type="http://schemas.openxmlformats.org/officeDocument/2006/relationships/tags" Target="../tags/tag51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02.xml"/><Relationship Id="rId7" Type="http://schemas.openxmlformats.org/officeDocument/2006/relationships/image" Target="../media/image14.emf"/><Relationship Id="rId2" Type="http://schemas.openxmlformats.org/officeDocument/2006/relationships/tags" Target="../tags/tag501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7.png"/><Relationship Id="rId3" Type="http://schemas.openxmlformats.org/officeDocument/2006/relationships/tags" Target="../tags/tag504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26.png"/><Relationship Id="rId2" Type="http://schemas.openxmlformats.org/officeDocument/2006/relationships/tags" Target="../tags/tag503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6.sv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5.png"/><Relationship Id="rId4" Type="http://schemas.openxmlformats.org/officeDocument/2006/relationships/tags" Target="../tags/tag505.xml"/><Relationship Id="rId9" Type="http://schemas.openxmlformats.org/officeDocument/2006/relationships/image" Target="../media/image24.png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3"/>
          <p:cNvSpPr txBox="1">
            <a:spLocks noChangeArrowheads="1"/>
          </p:cNvSpPr>
          <p:nvPr/>
        </p:nvSpPr>
        <p:spPr bwMode="auto">
          <a:xfrm>
            <a:off x="3539108" y="4597401"/>
            <a:ext cx="3071813" cy="25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59" tIns="34289" rIns="68559" bIns="34289">
            <a:spAutoFit/>
          </a:bodyPr>
          <a:lstStyle/>
          <a:p>
            <a:pPr algn="ctr" defTabSz="685562">
              <a:buClrTx/>
            </a:pPr>
            <a:r>
              <a:rPr lang="ru-RU" altLang="ru-RU" kern="1200" dirty="0" smtClean="0"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ru-RU" altLang="ru-RU" kern="1200" dirty="0" err="1" smtClean="0">
                <a:latin typeface="Arial" panose="020B0604020202020204" pitchFamily="34" charset="0"/>
                <a:ea typeface="+mn-ea"/>
                <a:cs typeface="+mn-cs"/>
              </a:rPr>
              <a:t>Нұр-Сұлтан</a:t>
            </a:r>
            <a:r>
              <a:rPr lang="ru-RU" altLang="ru-RU" kern="1200" dirty="0"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lang="ru-RU" altLang="ru-RU" kern="1200" dirty="0" smtClean="0">
                <a:latin typeface="Arial" panose="020B0604020202020204" pitchFamily="34" charset="0"/>
                <a:ea typeface="+mn-ea"/>
                <a:cs typeface="+mn-cs"/>
              </a:rPr>
              <a:t>2021 </a:t>
            </a:r>
            <a:r>
              <a:rPr lang="ru-RU" altLang="ru-RU" kern="1200" dirty="0" err="1" smtClean="0">
                <a:latin typeface="Arial" panose="020B0604020202020204" pitchFamily="34" charset="0"/>
                <a:ea typeface="+mn-ea"/>
                <a:cs typeface="+mn-cs"/>
              </a:rPr>
              <a:t>жылғы</a:t>
            </a:r>
            <a:r>
              <a:rPr lang="ru-RU" altLang="ru-RU" kern="1200" dirty="0" smtClean="0"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ru-RU" altLang="ru-RU" kern="1200" dirty="0" err="1" smtClean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+mn-cs"/>
              </a:rPr>
              <a:t>сәуір</a:t>
            </a:r>
            <a:endParaRPr lang="ru-RU" altLang="ru-RU" kern="1200" dirty="0">
              <a:solidFill>
                <a:srgbClr val="FF000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9220" name="Группа 21"/>
          <p:cNvGrpSpPr>
            <a:grpSpLocks/>
          </p:cNvGrpSpPr>
          <p:nvPr/>
        </p:nvGrpSpPr>
        <p:grpSpPr bwMode="auto">
          <a:xfrm>
            <a:off x="463550" y="2948007"/>
            <a:ext cx="971550" cy="1851025"/>
            <a:chOff x="464265" y="2731224"/>
            <a:chExt cx="970344" cy="1850030"/>
          </a:xfrm>
        </p:grpSpPr>
        <p:sp>
          <p:nvSpPr>
            <p:cNvPr id="6" name="Graphic 1">
              <a:extLst>
                <a:ext uri="{FF2B5EF4-FFF2-40B4-BE49-F238E27FC236}">
                  <a16:creationId xmlns="" xmlns:a16="http://schemas.microsoft.com/office/drawing/2014/main" id="{F83CF686-0917-4C96-AAC3-AD054DE35E74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Graphic 1">
              <a:extLst>
                <a:ext uri="{FF2B5EF4-FFF2-40B4-BE49-F238E27FC236}">
                  <a16:creationId xmlns="" xmlns:a16="http://schemas.microsoft.com/office/drawing/2014/main" id="{1FE7C61E-AE9B-48EC-AD6E-53EEEB049910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aphic 1">
              <a:extLst>
                <a:ext uri="{FF2B5EF4-FFF2-40B4-BE49-F238E27FC236}">
                  <a16:creationId xmlns="" xmlns:a16="http://schemas.microsoft.com/office/drawing/2014/main" id="{DA7CDF5A-854C-4D6D-8BB3-6DC75865454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="" xmlns:a16="http://schemas.microsoft.com/office/drawing/2014/main" id="{FADE55FA-53B8-4D2A-8AB8-4E04F071D48C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="" xmlns:a16="http://schemas.microsoft.com/office/drawing/2014/main" id="{009DAC32-8BB9-4A28-A599-F4454B1CB7D7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="" xmlns:a16="http://schemas.microsoft.com/office/drawing/2014/main" id="{946FA3E9-E8AB-4C7E-B4FC-3CA4D685A66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="" xmlns:a16="http://schemas.microsoft.com/office/drawing/2014/main" id="{A33647AC-2C81-4666-9218-2D26CA8F3F35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="" xmlns:a16="http://schemas.microsoft.com/office/drawing/2014/main" id="{60A02320-CCF6-409B-AB32-321B523A727D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575" y="1827231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22" name="Группа 29"/>
          <p:cNvGrpSpPr>
            <a:grpSpLocks/>
          </p:cNvGrpSpPr>
          <p:nvPr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38" name="Graphic 1">
              <a:extLst>
                <a:ext uri="{FF2B5EF4-FFF2-40B4-BE49-F238E27FC236}">
                  <a16:creationId xmlns="" xmlns:a16="http://schemas.microsoft.com/office/drawing/2014/main" id="{00D6DCD4-3DCA-47BA-BDB2-BCF7FFD5969A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="" xmlns:a16="http://schemas.microsoft.com/office/drawing/2014/main" id="{D4189F92-1E9C-417A-84CC-768F9834F425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="" xmlns:a16="http://schemas.microsoft.com/office/drawing/2014/main" id="{05463BBC-9909-4384-B60B-186B61A9A10A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="" xmlns:a16="http://schemas.microsoft.com/office/drawing/2014/main" id="{0BBE924C-8BA5-4223-847A-158C96C0F301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="" xmlns:a16="http://schemas.microsoft.com/office/drawing/2014/main" id="{3ABDEC94-5853-4E6A-8D09-08CC37B5BCED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="" xmlns:a16="http://schemas.microsoft.com/office/drawing/2014/main" id="{3173BBA7-A142-4100-A9B4-4D213FC31570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Подзаголовок 4">
            <a:extLst>
              <a:ext uri="{FF2B5EF4-FFF2-40B4-BE49-F238E27FC236}">
                <a16:creationId xmlns="" xmlns:a16="http://schemas.microsoft.com/office/drawing/2014/main" id="{37BDD382-8D2B-41C1-A099-54F87E41C3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9088" y="1666480"/>
            <a:ext cx="7654925" cy="1241822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ru-RU" sz="24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 КОДЕКС ТҰЖЫРЫМДАМАСЫ</a:t>
            </a:r>
            <a:endParaRPr lang="ru-RU" sz="2400" b="1" dirty="0">
              <a:solidFill>
                <a:srgbClr val="163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Группа 21"/>
          <p:cNvGrpSpPr>
            <a:grpSpLocks/>
          </p:cNvGrpSpPr>
          <p:nvPr/>
        </p:nvGrpSpPr>
        <p:grpSpPr bwMode="auto">
          <a:xfrm>
            <a:off x="466725" y="2744806"/>
            <a:ext cx="971550" cy="1851025"/>
            <a:chOff x="464265" y="2731224"/>
            <a:chExt cx="970344" cy="1850030"/>
          </a:xfrm>
        </p:grpSpPr>
        <p:sp>
          <p:nvSpPr>
            <p:cNvPr id="23" name="Graphic 1">
              <a:extLst>
                <a:ext uri="{FF2B5EF4-FFF2-40B4-BE49-F238E27FC236}">
                  <a16:creationId xmlns="" xmlns:a16="http://schemas.microsoft.com/office/drawing/2014/main" id="{F83CF686-0917-4C96-AAC3-AD054DE35E74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aphic 1">
              <a:extLst>
                <a:ext uri="{FF2B5EF4-FFF2-40B4-BE49-F238E27FC236}">
                  <a16:creationId xmlns="" xmlns:a16="http://schemas.microsoft.com/office/drawing/2014/main" id="{1FE7C61E-AE9B-48EC-AD6E-53EEEB049910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="" xmlns:a16="http://schemas.microsoft.com/office/drawing/2014/main" id="{DA7CDF5A-854C-4D6D-8BB3-6DC75865454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="" xmlns:a16="http://schemas.microsoft.com/office/drawing/2014/main" id="{FADE55FA-53B8-4D2A-8AB8-4E04F071D48C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="" xmlns:a16="http://schemas.microsoft.com/office/drawing/2014/main" id="{009DAC32-8BB9-4A28-A599-F4454B1CB7D7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="" xmlns:a16="http://schemas.microsoft.com/office/drawing/2014/main" id="{946FA3E9-E8AB-4C7E-B4FC-3CA4D685A66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="" xmlns:a16="http://schemas.microsoft.com/office/drawing/2014/main" id="{A33647AC-2C81-4666-9218-2D26CA8F3F35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="" xmlns:a16="http://schemas.microsoft.com/office/drawing/2014/main" id="{60A02320-CCF6-409B-AB32-321B523A727D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90954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/>
          </p:cNvSpPr>
          <p:nvPr/>
        </p:nvSpPr>
        <p:spPr>
          <a:xfrm>
            <a:off x="366203" y="101926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 ҚЫЗМЕТТЕР ЖҮЙЕСІН ЖЕТІЛДІРУ</a:t>
            </a:r>
            <a:endParaRPr lang="ru-RU" sz="20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4"/>
          <p:cNvSpPr txBox="1"/>
          <p:nvPr/>
        </p:nvSpPr>
        <p:spPr>
          <a:xfrm>
            <a:off x="450010" y="503138"/>
            <a:ext cx="1253144" cy="44106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8 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әлеуметтік қызмет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6" name="object 120"/>
          <p:cNvSpPr/>
          <p:nvPr/>
        </p:nvSpPr>
        <p:spPr>
          <a:xfrm>
            <a:off x="378115" y="1205583"/>
            <a:ext cx="8497846" cy="99693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121"/>
          <p:cNvSpPr/>
          <p:nvPr/>
        </p:nvSpPr>
        <p:spPr>
          <a:xfrm>
            <a:off x="378115" y="472191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bject 4"/>
          <p:cNvSpPr txBox="1"/>
          <p:nvPr/>
        </p:nvSpPr>
        <p:spPr>
          <a:xfrm>
            <a:off x="2521326" y="519282"/>
            <a:ext cx="1253144" cy="453885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</a:t>
            </a:r>
            <a:endParaRPr lang="kk-KZ" sz="1600" b="1" kern="1000" dirty="0">
              <a:solidFill>
                <a:srgbClr val="00206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з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аңда реттелген</a:t>
            </a:r>
            <a:endParaRPr lang="kk-KZ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9" name="object 4"/>
          <p:cNvSpPr txBox="1"/>
          <p:nvPr/>
        </p:nvSpPr>
        <p:spPr>
          <a:xfrm>
            <a:off x="4913288" y="529796"/>
            <a:ext cx="1253144" cy="44106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10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ың адам қолдау алады</a:t>
            </a:r>
          </a:p>
        </p:txBody>
      </p:sp>
      <p:sp>
        <p:nvSpPr>
          <p:cNvPr id="10" name="object 4"/>
          <p:cNvSpPr txBox="1"/>
          <p:nvPr/>
        </p:nvSpPr>
        <p:spPr>
          <a:xfrm>
            <a:off x="7258660" y="524732"/>
            <a:ext cx="1351676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Шығыстар көлемі </a:t>
            </a: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- 1,2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</a:t>
            </a:r>
            <a:endParaRPr lang="kk-KZ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лрд. 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еңге </a:t>
            </a:r>
            <a:endParaRPr lang="kk-KZ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28952" y="3102099"/>
            <a:ext cx="3916584" cy="2012744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Қызметтердің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сапасы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сыртқы</a:t>
            </a:r>
            <a:r>
              <a:rPr lang="ru-RU" sz="1300" b="1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бағалаудың</a:t>
            </a:r>
            <a:r>
              <a:rPr lang="ru-RU" sz="1300" b="1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және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қызметтерді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сүйемелдеу</a:t>
            </a:r>
            <a:r>
              <a:rPr lang="ru-RU" sz="1300" b="1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жүйесінің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болмауы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Бюджеттеу</a:t>
            </a:r>
            <a:r>
              <a:rPr lang="ru-RU" sz="1300" dirty="0" smtClean="0">
                <a:solidFill>
                  <a:srgbClr val="002060"/>
                </a:solidFill>
              </a:rPr>
              <a:t> мен </a:t>
            </a:r>
            <a:r>
              <a:rPr lang="ru-RU" sz="1300" dirty="0" err="1" smtClean="0">
                <a:solidFill>
                  <a:srgbClr val="002060"/>
                </a:solidFill>
              </a:rPr>
              <a:t>жоспарлаудың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тиімсіз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тетігі</a:t>
            </a:r>
            <a:endParaRPr lang="ru-RU" sz="1300" dirty="0">
              <a:solidFill>
                <a:srgbClr val="002060"/>
              </a:solidFill>
            </a:endParaRP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Қызметтер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классификаторының</a:t>
            </a:r>
            <a:r>
              <a:rPr lang="ru-RU" sz="1300" b="1" dirty="0" smtClean="0">
                <a:solidFill>
                  <a:srgbClr val="002060"/>
                </a:solidFill>
              </a:rPr>
              <a:t>, </a:t>
            </a:r>
            <a:r>
              <a:rPr lang="ru-RU" sz="1300" b="1" dirty="0" err="1" smtClean="0">
                <a:solidFill>
                  <a:srgbClr val="002060"/>
                </a:solidFill>
              </a:rPr>
              <a:t>нормативтердің</a:t>
            </a:r>
            <a:r>
              <a:rPr lang="ru-RU" sz="1300" dirty="0" smtClean="0">
                <a:solidFill>
                  <a:srgbClr val="002060"/>
                </a:solidFill>
              </a:rPr>
              <a:t>, </a:t>
            </a:r>
            <a:r>
              <a:rPr lang="ru-RU" sz="1300" b="1" dirty="0" smtClean="0">
                <a:solidFill>
                  <a:srgbClr val="002060"/>
                </a:solidFill>
              </a:rPr>
              <a:t>сапа </a:t>
            </a:r>
            <a:r>
              <a:rPr lang="ru-RU" sz="1300" b="1" dirty="0" err="1" smtClean="0">
                <a:solidFill>
                  <a:srgbClr val="002060"/>
                </a:solidFill>
              </a:rPr>
              <a:t>критерийлерінің</a:t>
            </a:r>
            <a:r>
              <a:rPr lang="ru-RU" sz="1300" b="1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және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калькуляцияның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болмауы</a:t>
            </a:r>
            <a:endParaRPr lang="ru-RU" sz="1300" dirty="0">
              <a:solidFill>
                <a:srgbClr val="002060"/>
              </a:solidFill>
            </a:endParaRP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Өңірлік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теңгерімсіздік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endParaRPr lang="ru-RU" sz="1300" b="1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9">
            <a:extLst>
              <a:ext uri="{FF2B5EF4-FFF2-40B4-BE49-F238E27FC236}">
                <a16:creationId xmlns:a16="http://schemas.microsoft.com/office/drawing/2014/main" xmlns="" id="{0CDE51C3-5230-DE45-9896-79AE46C54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752" y="1676549"/>
            <a:ext cx="4641300" cy="2974830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ызметтерд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жан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басына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шаққандағы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нормативтік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қаржыландыру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ағидатына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                              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езең-кезеңіме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өшу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endParaRPr lang="ru-RU" altLang="ru-RU" sz="1200" dirty="0" smtClean="0">
              <a:solidFill>
                <a:srgbClr val="00206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Медициналық-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мекемелерд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ккредитте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ән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лицензияла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</a:p>
          <a:p>
            <a:pPr marL="0" indent="0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ызметкерлерд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ірке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ән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ритерийлер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ойынша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ттестатта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(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оғары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ілім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,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ертификатта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, 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ағылымдамад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өт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i="1" dirty="0" smtClean="0">
                <a:solidFill>
                  <a:srgbClr val="002060"/>
                </a:solidFill>
                <a:latin typeface="Arial"/>
              </a:rPr>
              <a:t>(</a:t>
            </a:r>
            <a:r>
              <a:rPr lang="ru-RU" altLang="ru-RU" sz="1200" i="1" dirty="0" err="1" smtClean="0">
                <a:solidFill>
                  <a:srgbClr val="002060"/>
                </a:solidFill>
                <a:latin typeface="Arial"/>
              </a:rPr>
              <a:t>қосымша</a:t>
            </a:r>
            <a:r>
              <a:rPr lang="ru-RU" altLang="ru-RU" sz="12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i="1" dirty="0" err="1" smtClean="0">
                <a:solidFill>
                  <a:srgbClr val="002060"/>
                </a:solidFill>
                <a:latin typeface="Arial"/>
              </a:rPr>
              <a:t>шығыстар</a:t>
            </a:r>
            <a:r>
              <a:rPr lang="ru-RU" altLang="ru-RU" sz="1200" i="1" dirty="0" smtClean="0">
                <a:solidFill>
                  <a:srgbClr val="002060"/>
                </a:solidFill>
                <a:latin typeface="Arial"/>
              </a:rPr>
              <a:t> - </a:t>
            </a:r>
            <a:r>
              <a:rPr lang="ru-RU" altLang="ru-RU" sz="1200" b="1" i="1" dirty="0">
                <a:solidFill>
                  <a:srgbClr val="002060"/>
                </a:solidFill>
                <a:latin typeface="Arial"/>
              </a:rPr>
              <a:t>4,72</a:t>
            </a:r>
            <a:r>
              <a:rPr lang="ru-RU" altLang="ru-RU" sz="1200" i="1" dirty="0">
                <a:solidFill>
                  <a:srgbClr val="002060"/>
                </a:solidFill>
                <a:latin typeface="Arial"/>
              </a:rPr>
              <a:t> млрд. </a:t>
            </a:r>
            <a:r>
              <a:rPr lang="ru-RU" altLang="ru-RU" sz="12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i="1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қызметтердің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cap="all" dirty="0" err="1" smtClean="0">
                <a:solidFill>
                  <a:srgbClr val="00B050"/>
                </a:solidFill>
                <a:latin typeface="Arial"/>
              </a:rPr>
              <a:t>Классификациясын</a:t>
            </a:r>
            <a:r>
              <a:rPr lang="ru-RU" altLang="ru-RU" sz="1200" b="1" cap="all" dirty="0" smtClean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ән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алама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нысандары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нгіз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, АӘҚ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лушылардың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анаттары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еңейт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(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осымша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ажеттіл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– </a:t>
            </a:r>
            <a:r>
              <a:rPr lang="ru-RU" altLang="ru-RU" sz="1200" b="1" dirty="0">
                <a:solidFill>
                  <a:srgbClr val="002060"/>
                </a:solidFill>
                <a:latin typeface="Arial"/>
              </a:rPr>
              <a:t>3,4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млрд.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қызметтер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көрсететін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объектілерг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ажеттілікт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болжамды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есептеу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жүйесін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және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ажеттіл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нормативтер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скер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отырып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үйен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дамыту</a:t>
            </a:r>
            <a:endParaRPr lang="ru-RU" altLang="ru-RU" sz="120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5DB1D927-434D-4C2C-A380-506743E5CEDF}"/>
              </a:ext>
            </a:extLst>
          </p:cNvPr>
          <p:cNvSpPr/>
          <p:nvPr/>
        </p:nvSpPr>
        <p:spPr>
          <a:xfrm>
            <a:off x="4183982" y="1312877"/>
            <a:ext cx="4775129" cy="338439"/>
          </a:xfrm>
          <a:prstGeom prst="rect">
            <a:avLst/>
          </a:prstGeom>
          <a:solidFill>
            <a:srgbClr val="A5A5A5">
              <a:lumMod val="20000"/>
              <a:lumOff val="80000"/>
            </a:srgb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 defTabSz="913329">
              <a:buClrTx/>
              <a:defRPr/>
            </a:pPr>
            <a:r>
              <a:rPr lang="ru-RU" sz="14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МЫНАЛАР ҰСЫНЫЛАДЫ</a:t>
            </a:r>
            <a:r>
              <a:rPr lang="ru-RU" sz="16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1600" b="1" spc="-5" dirty="0">
              <a:solidFill>
                <a:srgbClr val="C09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bject 79"/>
          <p:cNvSpPr/>
          <p:nvPr/>
        </p:nvSpPr>
        <p:spPr>
          <a:xfrm>
            <a:off x="4139299" y="1750952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bject 79"/>
          <p:cNvSpPr/>
          <p:nvPr/>
        </p:nvSpPr>
        <p:spPr>
          <a:xfrm>
            <a:off x="4147417" y="2151394"/>
            <a:ext cx="266335" cy="326700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bject 79"/>
          <p:cNvSpPr/>
          <p:nvPr/>
        </p:nvSpPr>
        <p:spPr>
          <a:xfrm>
            <a:off x="4147417" y="2634134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bject 79"/>
          <p:cNvSpPr/>
          <p:nvPr/>
        </p:nvSpPr>
        <p:spPr>
          <a:xfrm>
            <a:off x="4137734" y="3251313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270798" y="4585599"/>
            <a:ext cx="3725893" cy="436928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тер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оцесінің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шықтығы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мен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иімділігін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рттыру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28" name="object 84"/>
          <p:cNvSpPr/>
          <p:nvPr/>
        </p:nvSpPr>
        <p:spPr>
          <a:xfrm>
            <a:off x="4183982" y="4569121"/>
            <a:ext cx="4804590" cy="488156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 defTabSz="913329">
              <a:buClrTx/>
              <a:defRPr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00563" y="4606038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ӘСЕР: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4082770" y="1287644"/>
            <a:ext cx="0" cy="3854844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85000"/>
              </a:srgbClr>
            </a:solidFill>
            <a:prstDash val="dash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366204" y="1355653"/>
            <a:ext cx="3523362" cy="584660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marL="1159803" indent="-1159803" defTabSz="821995"/>
            <a:r>
              <a:rPr lang="en-US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000</a:t>
            </a:r>
            <a:endParaRPr lang="ru-RU" sz="1300" dirty="0">
              <a:solidFill>
                <a:srgbClr val="00206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89649" y="2234355"/>
            <a:ext cx="3320614" cy="7385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defTabSz="657679" fontAlgn="base">
              <a:spcBef>
                <a:spcPct val="0"/>
              </a:spcBef>
              <a:spcAft>
                <a:spcPts val="433"/>
              </a:spcAft>
              <a:buClrTx/>
              <a:tabLst>
                <a:tab pos="0" algn="l"/>
              </a:tabLst>
              <a:defRPr/>
            </a:pPr>
            <a:r>
              <a:rPr lang="ru-RU" altLang="ru-RU" sz="28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92%</a:t>
            </a:r>
            <a:r>
              <a:rPr lang="ru-RU" alt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alt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ұмыскерлер</a:t>
            </a:r>
            <a:r>
              <a:rPr lang="ru-RU" alt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alt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үйде</a:t>
            </a:r>
            <a:r>
              <a:rPr lang="ru-RU" alt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АӘҚ </a:t>
            </a:r>
            <a:r>
              <a:rPr lang="ru-RU" alt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рсетеді</a:t>
            </a:r>
            <a:endParaRPr lang="ru-RU" alt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32" name="object 79"/>
          <p:cNvSpPr/>
          <p:nvPr/>
        </p:nvSpPr>
        <p:spPr>
          <a:xfrm>
            <a:off x="4137734" y="3894596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5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A6D5EB2-4696-4A64-861C-D2432E7168D3}"/>
              </a:ext>
            </a:extLst>
          </p:cNvPr>
          <p:cNvSpPr txBox="1"/>
          <p:nvPr/>
        </p:nvSpPr>
        <p:spPr>
          <a:xfrm>
            <a:off x="431173" y="1559319"/>
            <a:ext cx="3485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                     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убъект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рнаулы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тер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(АӘҚ)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рсетеді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21629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537FC54-11C3-4455-B32B-F9D7CDDE83DC}"/>
              </a:ext>
            </a:extLst>
          </p:cNvPr>
          <p:cNvSpPr/>
          <p:nvPr/>
        </p:nvSpPr>
        <p:spPr>
          <a:xfrm>
            <a:off x="1320010" y="4007995"/>
            <a:ext cx="7372056" cy="682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522CB103-E969-43D1-B64C-7C8FB1B3CC79}"/>
              </a:ext>
            </a:extLst>
          </p:cNvPr>
          <p:cNvSpPr/>
          <p:nvPr/>
        </p:nvSpPr>
        <p:spPr>
          <a:xfrm>
            <a:off x="1339683" y="3247669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ды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1447E6B1-2520-44EA-BC8B-8F9B5AD88FFC}"/>
              </a:ext>
            </a:extLst>
          </p:cNvPr>
          <p:cNvSpPr/>
          <p:nvPr/>
        </p:nvSpPr>
        <p:spPr>
          <a:xfrm>
            <a:off x="1332063" y="2498094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алы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ды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ейту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</a:t>
            </a:r>
            <a:r>
              <a:rPr lang="ru-RU" altLang="ru-RU" i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i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i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ынан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altLang="ru-RU" i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идаты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i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i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altLang="ru-RU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848C8FC9-860A-4E14-83B7-8747F0F34800}"/>
              </a:ext>
            </a:extLst>
          </p:cNvPr>
          <p:cNvSpPr/>
          <p:nvPr/>
        </p:nvSpPr>
        <p:spPr>
          <a:xfrm>
            <a:off x="1332063" y="1732786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тейті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қаттанға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луы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endParaRPr lang="ru-RU" altLang="ru-RU" sz="1400" b="1" kern="1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F4B0FB6-2F19-4B0D-B09C-5A6B8AD3BA21}"/>
              </a:ext>
            </a:extLst>
          </p:cNvPr>
          <p:cNvSpPr/>
          <p:nvPr/>
        </p:nvSpPr>
        <p:spPr>
          <a:xfrm>
            <a:off x="1332063" y="1017495"/>
            <a:ext cx="7372056" cy="6589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сыздандырудың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ынан</a:t>
            </a:r>
            <a:r>
              <a:rPr lang="ru-RU" alt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йты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де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altLang="ru-RU" sz="1400" b="1" kern="1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323">
            <a:extLst>
              <a:ext uri="{FF2B5EF4-FFF2-40B4-BE49-F238E27FC236}">
                <a16:creationId xmlns="" xmlns:a16="http://schemas.microsoft.com/office/drawing/2014/main" id="{0586F750-C4DF-4211-8EF3-BF1BD2708F1D}"/>
              </a:ext>
            </a:extLst>
          </p:cNvPr>
          <p:cNvSpPr>
            <a:spLocks/>
          </p:cNvSpPr>
          <p:nvPr/>
        </p:nvSpPr>
        <p:spPr bwMode="gray">
          <a:xfrm>
            <a:off x="491984" y="1017494"/>
            <a:ext cx="759775" cy="3673339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8137526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әсілдер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2</a:t>
            </a: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.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Азаматтарды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қолдауды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жаңғырту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18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339684" y="4089819"/>
            <a:ext cx="73327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 defTabSz="685749">
              <a:spcBef>
                <a:spcPts val="225"/>
              </a:spcBef>
              <a:spcAft>
                <a:spcPts val="28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мографиялық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ндтерді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кере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ырып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ейнетақы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йесінің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иімділігі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ттыру</a:t>
            </a:r>
            <a:endParaRPr lang="ru-RU" altLang="ru-RU" sz="1400" i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5B9BD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75" y="4046283"/>
            <a:ext cx="651984" cy="555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587C630E-10D8-420E-824C-D5BF4DFA662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90" y="3356795"/>
            <a:ext cx="444943" cy="42123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A78D7D22-C0FC-0543-8EB6-806FD1F337EC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rgbClr val="4472C4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06601" y="1742701"/>
            <a:ext cx="496432" cy="46243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2D9EC173-46F5-4561-87D4-8A00FBFB00F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76" y="2608914"/>
            <a:ext cx="420605" cy="357211"/>
          </a:xfrm>
          <a:prstGeom prst="rect">
            <a:avLst/>
          </a:prstGeom>
        </p:spPr>
      </p:pic>
      <p:pic>
        <p:nvPicPr>
          <p:cNvPr id="22" name="Graphic 101">
            <a:extLst>
              <a:ext uri="{FF2B5EF4-FFF2-40B4-BE49-F238E27FC236}">
                <a16:creationId xmlns="" xmlns:a16="http://schemas.microsoft.com/office/drawing/2014/main" id="{3E7617D4-1E3C-5D44-9E80-43675665749A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8090" y="1160403"/>
            <a:ext cx="351344" cy="3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09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xmlns="" id="{C28B187C-510C-4FE7-BEEE-8475A3F26CEA}"/>
              </a:ext>
            </a:extLst>
          </p:cNvPr>
          <p:cNvSpPr txBox="1">
            <a:spLocks/>
          </p:cNvSpPr>
          <p:nvPr/>
        </p:nvSpPr>
        <p:spPr>
          <a:xfrm>
            <a:off x="311611" y="156518"/>
            <a:ext cx="8509761" cy="22561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14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СЫЗДЫҚ, ЕҢБЕККЕ УАҚЫТША </a:t>
            </a:r>
            <a:r>
              <a:rPr lang="ru-RU" sz="14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білетсіздік</a:t>
            </a:r>
            <a:r>
              <a:rPr lang="ru-RU" sz="14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БОЙЫНША ҚАМСЫЗДАНДЫРУ</a:t>
            </a:r>
            <a:endParaRPr lang="ru-RU" sz="14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xmlns="" id="{409ABADA-1AEF-4CCA-BB3A-A8208186F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785" y="999515"/>
            <a:ext cx="3908182" cy="1189726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2025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ылд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астап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МӘСҚ-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өленет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ұмыст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йырыл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ойынша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әлеум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өлемд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йқындағ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езд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абысты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лмастыр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оэффициент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40%-дан 45%-</a:t>
            </a:r>
            <a:r>
              <a:rPr lang="ru-RU" altLang="ru-RU" sz="1200" b="1" dirty="0" err="1" smtClean="0">
                <a:solidFill>
                  <a:srgbClr val="002060"/>
                </a:solidFill>
                <a:latin typeface="Arial"/>
              </a:rPr>
              <a:t>ға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dirty="0" err="1" smtClean="0">
                <a:solidFill>
                  <a:srgbClr val="002060"/>
                </a:solidFill>
                <a:latin typeface="Arial"/>
              </a:rPr>
              <a:t>дейін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рттыру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(МӘСҚ-</a:t>
            </a:r>
            <a:r>
              <a:rPr lang="ru-RU" altLang="ru-RU" sz="1100" i="1" dirty="0" err="1" smtClean="0">
                <a:solidFill>
                  <a:srgbClr val="002060"/>
                </a:solidFill>
                <a:latin typeface="Arial"/>
              </a:rPr>
              <a:t>тан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100" i="1" dirty="0" err="1" smtClean="0">
                <a:solidFill>
                  <a:srgbClr val="002060"/>
                </a:solidFill>
                <a:latin typeface="Arial"/>
              </a:rPr>
              <a:t>қосымша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100" i="1" dirty="0" err="1" smtClean="0">
                <a:solidFill>
                  <a:srgbClr val="002060"/>
                </a:solidFill>
                <a:latin typeface="Arial"/>
              </a:rPr>
              <a:t>қажеттілік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 2025 </a:t>
            </a:r>
            <a:r>
              <a:rPr lang="ru-RU" altLang="ru-RU" sz="1100" i="1" dirty="0" err="1" smtClean="0">
                <a:solidFill>
                  <a:srgbClr val="002060"/>
                </a:solidFill>
                <a:latin typeface="Arial"/>
              </a:rPr>
              <a:t>жылға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 – 2,240 млрд </a:t>
            </a:r>
            <a:r>
              <a:rPr lang="ru-RU" altLang="ru-RU" sz="1100" i="1" dirty="0" err="1" smtClean="0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, 2026 ж. </a:t>
            </a:r>
            <a:r>
              <a:rPr lang="ru-RU" altLang="ru-RU" sz="1100" i="1" dirty="0">
                <a:solidFill>
                  <a:srgbClr val="002060"/>
                </a:solidFill>
                <a:latin typeface="Arial"/>
              </a:rPr>
              <a:t>– 2,580 млрд. </a:t>
            </a:r>
            <a:r>
              <a:rPr lang="ru-RU" altLang="ru-RU" sz="11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100" i="1" dirty="0">
                <a:solidFill>
                  <a:srgbClr val="002060"/>
                </a:solidFill>
                <a:latin typeface="Arial"/>
              </a:rPr>
              <a:t>., 2027 </a:t>
            </a:r>
            <a:r>
              <a:rPr lang="ru-RU" altLang="ru-RU" sz="1100" i="1" dirty="0" smtClean="0">
                <a:solidFill>
                  <a:srgbClr val="002060"/>
                </a:solidFill>
                <a:latin typeface="Arial"/>
              </a:rPr>
              <a:t>ж. </a:t>
            </a:r>
            <a:r>
              <a:rPr lang="ru-RU" altLang="ru-RU" sz="1100" i="1" dirty="0">
                <a:solidFill>
                  <a:srgbClr val="002060"/>
                </a:solidFill>
                <a:latin typeface="Arial"/>
              </a:rPr>
              <a:t>– 2,786 млрд. </a:t>
            </a:r>
            <a:r>
              <a:rPr lang="ru-RU" altLang="ru-RU" sz="11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100" i="1" dirty="0">
                <a:solidFill>
                  <a:srgbClr val="002060"/>
                </a:solidFill>
                <a:latin typeface="Arial"/>
              </a:rPr>
              <a:t>.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683F1D27-CDD3-4D4A-BC7A-6420C2BE874A}"/>
              </a:ext>
            </a:extLst>
          </p:cNvPr>
          <p:cNvSpPr/>
          <p:nvPr/>
        </p:nvSpPr>
        <p:spPr>
          <a:xfrm>
            <a:off x="4519453" y="622234"/>
            <a:ext cx="4316830" cy="3384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6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МЫНАЛАР ҰСЫНЫЛАДЫ:</a:t>
            </a:r>
            <a:endParaRPr lang="ru-RU" sz="1600" b="1" spc="-5" dirty="0">
              <a:solidFill>
                <a:srgbClr val="C09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79">
            <a:extLst>
              <a:ext uri="{FF2B5EF4-FFF2-40B4-BE49-F238E27FC236}">
                <a16:creationId xmlns:a16="http://schemas.microsoft.com/office/drawing/2014/main" xmlns="" id="{8D78FA6B-A622-4D2E-B854-F19D83A216B8}"/>
              </a:ext>
            </a:extLst>
          </p:cNvPr>
          <p:cNvSpPr/>
          <p:nvPr/>
        </p:nvSpPr>
        <p:spPr>
          <a:xfrm>
            <a:off x="4566491" y="108240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B3A60F4C-90F5-481B-9209-C30632237D26}"/>
              </a:ext>
            </a:extLst>
          </p:cNvPr>
          <p:cNvSpPr/>
          <p:nvPr/>
        </p:nvSpPr>
        <p:spPr>
          <a:xfrm>
            <a:off x="5587657" y="3320082"/>
            <a:ext cx="3215741" cy="6831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ұмыста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йырылға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дамдард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орғауд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арабар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еңгей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мтамасыз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т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әне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енсаулығы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олық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ңалт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үш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ем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луғ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ынталандыр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 </a:t>
            </a:r>
            <a:endParaRPr lang="ru-RU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8" name="object 84">
            <a:extLst>
              <a:ext uri="{FF2B5EF4-FFF2-40B4-BE49-F238E27FC236}">
                <a16:creationId xmlns:a16="http://schemas.microsoft.com/office/drawing/2014/main" xmlns="" id="{35D2D803-B99D-4DE7-8AB1-B08EEAA24B4B}"/>
              </a:ext>
            </a:extLst>
          </p:cNvPr>
          <p:cNvSpPr/>
          <p:nvPr/>
        </p:nvSpPr>
        <p:spPr>
          <a:xfrm>
            <a:off x="4475084" y="3284025"/>
            <a:ext cx="4346288" cy="891177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1867A53A-A7BA-4F59-AFC8-336D706DFD84}"/>
              </a:ext>
            </a:extLst>
          </p:cNvPr>
          <p:cNvSpPr/>
          <p:nvPr/>
        </p:nvSpPr>
        <p:spPr>
          <a:xfrm>
            <a:off x="4457110" y="3588257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ӘСЕР: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6BFA512-57B4-49A3-930A-B9E441A71D0C}"/>
              </a:ext>
            </a:extLst>
          </p:cNvPr>
          <p:cNvSpPr txBox="1"/>
          <p:nvPr/>
        </p:nvSpPr>
        <p:spPr>
          <a:xfrm>
            <a:off x="1471092" y="666719"/>
            <a:ext cx="2661889" cy="806131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1300" dirty="0" err="1">
                <a:solidFill>
                  <a:srgbClr val="002060"/>
                </a:solidFill>
              </a:rPr>
              <a:t>Жұмыстан</a:t>
            </a:r>
            <a:r>
              <a:rPr lang="ru-RU" sz="1300" dirty="0">
                <a:solidFill>
                  <a:srgbClr val="002060"/>
                </a:solidFill>
              </a:rPr>
              <a:t> </a:t>
            </a:r>
            <a:r>
              <a:rPr lang="ru-RU" sz="1300" dirty="0" err="1">
                <a:solidFill>
                  <a:srgbClr val="002060"/>
                </a:solidFill>
              </a:rPr>
              <a:t>айырылу</a:t>
            </a:r>
            <a:r>
              <a:rPr lang="ru-RU" sz="1300" dirty="0">
                <a:solidFill>
                  <a:srgbClr val="002060"/>
                </a:solidFill>
              </a:rPr>
              <a:t> </a:t>
            </a:r>
            <a:r>
              <a:rPr lang="ru-RU" sz="1300" dirty="0" err="1">
                <a:solidFill>
                  <a:srgbClr val="002060"/>
                </a:solidFill>
              </a:rPr>
              <a:t>бойынша</a:t>
            </a:r>
            <a:r>
              <a:rPr lang="ru-RU" sz="1300" dirty="0">
                <a:solidFill>
                  <a:srgbClr val="002060"/>
                </a:solidFill>
              </a:rPr>
              <a:t> </a:t>
            </a:r>
            <a:r>
              <a:rPr lang="ru-RU" sz="1300" dirty="0" err="1">
                <a:solidFill>
                  <a:srgbClr val="002060"/>
                </a:solidFill>
              </a:rPr>
              <a:t>төлемлерді</a:t>
            </a:r>
            <a:r>
              <a:rPr lang="ru-RU" sz="32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99</a:t>
            </a:r>
            <a:r>
              <a:rPr lang="ru-RU" sz="4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</a:rPr>
              <a:t>мың</a:t>
            </a:r>
            <a:r>
              <a:rPr lang="ru-RU" sz="1300" dirty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алушы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01FFD11-57D8-4723-8F37-CA3B81574437}"/>
              </a:ext>
            </a:extLst>
          </p:cNvPr>
          <p:cNvSpPr txBox="1"/>
          <p:nvPr/>
        </p:nvSpPr>
        <p:spPr>
          <a:xfrm>
            <a:off x="17678" y="1388925"/>
            <a:ext cx="1178423" cy="738607"/>
          </a:xfrm>
          <a:prstGeom prst="rect">
            <a:avLst/>
          </a:prstGeom>
          <a:noFill/>
        </p:spPr>
        <p:txBody>
          <a:bodyPr wrap="none" lIns="91388" tIns="45692" rIns="91388" bIns="45692" rtlCol="0">
            <a:spAutoFit/>
          </a:bodyPr>
          <a:lstStyle/>
          <a:p>
            <a:pPr algn="ctr"/>
            <a:r>
              <a:rPr lang="ru-RU" sz="1400" b="1" dirty="0" err="1" smtClean="0">
                <a:solidFill>
                  <a:srgbClr val="002060"/>
                </a:solidFill>
              </a:rPr>
              <a:t>Жұмыстан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1400" b="1" dirty="0" err="1" smtClean="0">
                <a:solidFill>
                  <a:srgbClr val="002060"/>
                </a:solidFill>
              </a:rPr>
              <a:t>айырылу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1400" b="1" dirty="0" err="1" smtClean="0">
                <a:solidFill>
                  <a:srgbClr val="002060"/>
                </a:solidFill>
              </a:rPr>
              <a:t>бойынша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E0453CA-A6AA-4F9D-B022-15BCA05F21D6}"/>
              </a:ext>
            </a:extLst>
          </p:cNvPr>
          <p:cNvSpPr txBox="1"/>
          <p:nvPr/>
        </p:nvSpPr>
        <p:spPr>
          <a:xfrm>
            <a:off x="1469304" y="1534960"/>
            <a:ext cx="2661889" cy="738549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3,6 </a:t>
            </a:r>
            <a:r>
              <a:rPr lang="ru-RU" sz="1400" dirty="0" err="1">
                <a:solidFill>
                  <a:srgbClr val="002060"/>
                </a:solidFill>
                <a:ea typeface="ＭＳ Ｐゴシック"/>
              </a:rPr>
              <a:t>мың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тг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.</a:t>
            </a:r>
            <a:r>
              <a:rPr lang="ru-RU" sz="32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- МӘСҚ-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тан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берілетін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төлемнің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орташа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мөлшері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0C8097AB-93AF-4A78-B5A7-01C3923C021E}"/>
              </a:ext>
            </a:extLst>
          </p:cNvPr>
          <p:cNvGrpSpPr/>
          <p:nvPr/>
        </p:nvGrpSpPr>
        <p:grpSpPr>
          <a:xfrm>
            <a:off x="1091749" y="912754"/>
            <a:ext cx="340132" cy="1594966"/>
            <a:chOff x="4963965" y="972662"/>
            <a:chExt cx="265172" cy="1157938"/>
          </a:xfrm>
        </p:grpSpPr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CA31565F-78CE-4B98-AEA9-11BEEDAD5214}"/>
                </a:ext>
              </a:extLst>
            </p:cNvPr>
            <p:cNvCxnSpPr/>
            <p:nvPr/>
          </p:nvCxnSpPr>
          <p:spPr>
            <a:xfrm flipH="1">
              <a:off x="4963965" y="972662"/>
              <a:ext cx="7218" cy="1157938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xmlns="" id="{9D91AFFE-2960-4FA0-8D75-936117A9ED95}"/>
                </a:ext>
              </a:extLst>
            </p:cNvPr>
            <p:cNvGrpSpPr/>
            <p:nvPr/>
          </p:nvGrpSpPr>
          <p:grpSpPr>
            <a:xfrm>
              <a:off x="4977137" y="972662"/>
              <a:ext cx="252000" cy="542265"/>
              <a:chOff x="4977878" y="888099"/>
              <a:chExt cx="252000" cy="542265"/>
            </a:xfrm>
          </p:grpSpPr>
          <p:cxnSp>
            <p:nvCxnSpPr>
              <p:cNvPr id="16" name="Прямая со стрелкой 15">
                <a:extLst>
                  <a:ext uri="{FF2B5EF4-FFF2-40B4-BE49-F238E27FC236}">
                    <a16:creationId xmlns:a16="http://schemas.microsoft.com/office/drawing/2014/main" xmlns="" id="{FE1D3FC3-B731-4B9D-94ED-16D820FC72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17" name="Прямая со стрелкой 16">
                <a:extLst>
                  <a:ext uri="{FF2B5EF4-FFF2-40B4-BE49-F238E27FC236}">
                    <a16:creationId xmlns:a16="http://schemas.microsoft.com/office/drawing/2014/main" xmlns="" id="{14A65A9D-714A-4EE0-9C8B-D3FE4A6311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43036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44E30689-AEF2-4893-8356-E5D4AA3A9664}"/>
              </a:ext>
            </a:extLst>
          </p:cNvPr>
          <p:cNvCxnSpPr>
            <a:cxnSpLocks/>
          </p:cNvCxnSpPr>
          <p:nvPr/>
        </p:nvCxnSpPr>
        <p:spPr>
          <a:xfrm>
            <a:off x="1096377" y="2518295"/>
            <a:ext cx="32323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5FDEAAD-D43A-4A1C-97C2-CAA59791101B}"/>
              </a:ext>
            </a:extLst>
          </p:cNvPr>
          <p:cNvSpPr txBox="1"/>
          <p:nvPr/>
        </p:nvSpPr>
        <p:spPr>
          <a:xfrm>
            <a:off x="1497535" y="2335619"/>
            <a:ext cx="2661889" cy="58773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0%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-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табысты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алмастыру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деңгейі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4671DA3-8258-4067-8886-21D4CF7FD97C}"/>
              </a:ext>
            </a:extLst>
          </p:cNvPr>
          <p:cNvSpPr txBox="1"/>
          <p:nvPr/>
        </p:nvSpPr>
        <p:spPr>
          <a:xfrm>
            <a:off x="1474205" y="3445870"/>
            <a:ext cx="2690459" cy="67391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5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АЕК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айына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 -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жұмыс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беруші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ea typeface="ＭＳ Ｐゴシック"/>
              </a:rPr>
              <a:t>есебінен</a:t>
            </a:r>
            <a:r>
              <a:rPr lang="ru-RU" sz="1400" dirty="0" smtClean="0">
                <a:solidFill>
                  <a:srgbClr val="002060"/>
                </a:solidFill>
                <a:ea typeface="ＭＳ Ｐゴシック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ea typeface="ＭＳ Ｐゴシック"/>
              </a:rPr>
              <a:t>(</a:t>
            </a:r>
            <a:r>
              <a:rPr lang="ru-RU" sz="1100" dirty="0">
                <a:solidFill>
                  <a:srgbClr val="002060"/>
                </a:solidFill>
                <a:ea typeface="ＭＳ Ｐゴシック"/>
              </a:rPr>
              <a:t>43 755 </a:t>
            </a:r>
            <a:r>
              <a:rPr lang="ru-RU" sz="1100" dirty="0" err="1">
                <a:solidFill>
                  <a:srgbClr val="002060"/>
                </a:solidFill>
                <a:ea typeface="ＭＳ Ｐゴシック"/>
              </a:rPr>
              <a:t>тг</a:t>
            </a:r>
            <a:r>
              <a:rPr lang="ru-RU" sz="1100" dirty="0">
                <a:solidFill>
                  <a:srgbClr val="002060"/>
                </a:solidFill>
                <a:ea typeface="ＭＳ Ｐゴシック"/>
              </a:rPr>
              <a:t>.)</a:t>
            </a:r>
            <a:endParaRPr lang="ru-RU" altLang="ru-RU" sz="1100" dirty="0">
              <a:solidFill>
                <a:srgbClr val="00206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BC83761-0868-40FA-90A1-6752F361E2B8}"/>
              </a:ext>
            </a:extLst>
          </p:cNvPr>
          <p:cNvSpPr txBox="1"/>
          <p:nvPr/>
        </p:nvSpPr>
        <p:spPr>
          <a:xfrm>
            <a:off x="-197926" y="3493316"/>
            <a:ext cx="1449330" cy="523164"/>
          </a:xfrm>
          <a:prstGeom prst="rect">
            <a:avLst/>
          </a:prstGeom>
          <a:noFill/>
        </p:spPr>
        <p:txBody>
          <a:bodyPr wrap="none" lIns="91388" tIns="45692" rIns="91388" bIns="45692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   </a:t>
            </a:r>
            <a:r>
              <a:rPr lang="ru-RU" sz="1400" b="1" dirty="0" err="1" smtClean="0">
                <a:solidFill>
                  <a:srgbClr val="002060"/>
                </a:solidFill>
              </a:rPr>
              <a:t>Сырқаттану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1400" b="1" dirty="0" err="1" smtClean="0">
                <a:solidFill>
                  <a:srgbClr val="002060"/>
                </a:solidFill>
              </a:rPr>
              <a:t>бойынша</a:t>
            </a:r>
            <a:endParaRPr lang="ru-RU" sz="1400" b="1" dirty="0">
              <a:solidFill>
                <a:srgbClr val="002060"/>
              </a:solidFill>
            </a:endParaRP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xmlns="" id="{8BCC1820-787B-450F-B0EA-BD82567BBBD0}"/>
              </a:ext>
            </a:extLst>
          </p:cNvPr>
          <p:cNvCxnSpPr>
            <a:cxnSpLocks/>
          </p:cNvCxnSpPr>
          <p:nvPr/>
        </p:nvCxnSpPr>
        <p:spPr>
          <a:xfrm>
            <a:off x="1108635" y="3728236"/>
            <a:ext cx="32323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AE68F01-CC20-48BD-957C-1666148A3211}"/>
              </a:ext>
            </a:extLst>
          </p:cNvPr>
          <p:cNvSpPr txBox="1"/>
          <p:nvPr/>
        </p:nvSpPr>
        <p:spPr>
          <a:xfrm>
            <a:off x="109184" y="2996060"/>
            <a:ext cx="4023797" cy="30988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 smtClean="0">
                <a:solidFill>
                  <a:srgbClr val="002060"/>
                </a:solidFill>
              </a:rPr>
              <a:t>ТАК ХЕҰ </a:t>
            </a:r>
            <a:r>
              <a:rPr lang="ru-RU" sz="1300" dirty="0" err="1" smtClean="0">
                <a:solidFill>
                  <a:srgbClr val="002060"/>
                </a:solidFill>
              </a:rPr>
              <a:t>ұсынымдарына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сәйкес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келмеуі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>
                <a:solidFill>
                  <a:srgbClr val="002060"/>
                </a:solidFill>
              </a:rPr>
              <a:t>– 45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B7A6CF7-28C8-4396-8F01-B404C1F56985}"/>
              </a:ext>
            </a:extLst>
          </p:cNvPr>
          <p:cNvSpPr txBox="1"/>
          <p:nvPr/>
        </p:nvSpPr>
        <p:spPr>
          <a:xfrm>
            <a:off x="107396" y="4332528"/>
            <a:ext cx="4023797" cy="45529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 err="1" smtClean="0">
                <a:solidFill>
                  <a:srgbClr val="002060"/>
                </a:solidFill>
              </a:rPr>
              <a:t>Сырқаттану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кезеңі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ұзақ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болға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кезде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жұмыскердің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табысты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жоғалтуы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толық</a:t>
            </a:r>
            <a:r>
              <a:rPr lang="ru-RU" sz="1300" b="1" dirty="0" smtClean="0">
                <a:solidFill>
                  <a:srgbClr val="002060"/>
                </a:solidFill>
              </a:rPr>
              <a:t> </a:t>
            </a:r>
            <a:r>
              <a:rPr lang="ru-RU" sz="1300" b="1" dirty="0" err="1" smtClean="0">
                <a:solidFill>
                  <a:srgbClr val="002060"/>
                </a:solidFill>
              </a:rPr>
              <a:t>өтелмейді</a:t>
            </a:r>
            <a:endParaRPr lang="ru-RU" sz="1300" b="1" dirty="0">
              <a:solidFill>
                <a:srgbClr val="002060"/>
              </a:solidFill>
            </a:endParaRPr>
          </a:p>
        </p:txBody>
      </p:sp>
      <p:sp>
        <p:nvSpPr>
          <p:cNvPr id="25" name="object 79">
            <a:extLst>
              <a:ext uri="{FF2B5EF4-FFF2-40B4-BE49-F238E27FC236}">
                <a16:creationId xmlns:a16="http://schemas.microsoft.com/office/drawing/2014/main" xmlns="" id="{1979D385-6803-4A19-BC24-DB711C22890C}"/>
              </a:ext>
            </a:extLst>
          </p:cNvPr>
          <p:cNvSpPr/>
          <p:nvPr/>
        </p:nvSpPr>
        <p:spPr>
          <a:xfrm>
            <a:off x="4576826" y="235991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9">
            <a:extLst>
              <a:ext uri="{FF2B5EF4-FFF2-40B4-BE49-F238E27FC236}">
                <a16:creationId xmlns:a16="http://schemas.microsoft.com/office/drawing/2014/main" xmlns="" id="{663B971D-2132-4DA8-834F-AC7FEC7A0B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785" y="2290434"/>
            <a:ext cx="3908182" cy="943505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Еңбекке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уақытша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қабілетсіздік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бойынша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жәрдемақының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шекті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/>
              </a:rPr>
              <a:t>шамасын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жұмыс</a:t>
            </a:r>
            <a:r>
              <a:rPr lang="ru-RU" altLang="ru-RU" sz="14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берушілер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есебінен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/>
              </a:rPr>
              <a:t> 15 АЕК-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тен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/>
              </a:rPr>
              <a:t> 35 АЕК-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ке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дейін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/>
              </a:rPr>
              <a:t>ұлғайту</a:t>
            </a:r>
            <a:endParaRPr lang="ru-RU" altLang="ru-RU" sz="1400" b="1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7" name="object 121">
            <a:extLst>
              <a:ext uri="{FF2B5EF4-FFF2-40B4-BE49-F238E27FC236}">
                <a16:creationId xmlns:a16="http://schemas.microsoft.com/office/drawing/2014/main" xmlns="" id="{A3DF7464-0068-4DEA-AB74-630F10C91373}"/>
              </a:ext>
            </a:extLst>
          </p:cNvPr>
          <p:cNvSpPr/>
          <p:nvPr/>
        </p:nvSpPr>
        <p:spPr>
          <a:xfrm>
            <a:off x="378115" y="554252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bject 84">
            <a:extLst>
              <a:ext uri="{FF2B5EF4-FFF2-40B4-BE49-F238E27FC236}">
                <a16:creationId xmlns:a16="http://schemas.microsoft.com/office/drawing/2014/main" xmlns="" id="{B37B6952-D73C-4237-BCB9-912753AEB0D7}"/>
              </a:ext>
            </a:extLst>
          </p:cNvPr>
          <p:cNvSpPr/>
          <p:nvPr/>
        </p:nvSpPr>
        <p:spPr>
          <a:xfrm>
            <a:off x="4481193" y="4297893"/>
            <a:ext cx="4346288" cy="712069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4C6F2A59-52A8-4FA2-BA2F-A50DF79E3294}"/>
              </a:ext>
            </a:extLst>
          </p:cNvPr>
          <p:cNvSpPr/>
          <p:nvPr/>
        </p:nvSpPr>
        <p:spPr>
          <a:xfrm>
            <a:off x="4527009" y="4433775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ru-RU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ҚАТЕРЛЕР: </a:t>
            </a:r>
            <a:endParaRPr 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4B440FE0-A4B1-48DD-8C87-9C75A0AB1DA2}"/>
              </a:ext>
            </a:extLst>
          </p:cNvPr>
          <p:cNvSpPr/>
          <p:nvPr/>
        </p:nvSpPr>
        <p:spPr>
          <a:xfrm>
            <a:off x="5643716" y="4340929"/>
            <a:ext cx="3171197" cy="535416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емлекеттік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юджетке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лықтард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үсуіні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өмендеу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(ҚР СК 486-бабының  6-т.)</a:t>
            </a:r>
            <a:endParaRPr lang="ru-RU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83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xmlns="" id="{9D9D8BC4-6F7D-41B2-998B-FD50B75367ED}"/>
              </a:ext>
            </a:extLst>
          </p:cNvPr>
          <p:cNvSpPr txBox="1">
            <a:spLocks/>
          </p:cNvSpPr>
          <p:nvPr/>
        </p:nvSpPr>
        <p:spPr>
          <a:xfrm>
            <a:off x="366203" y="115574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ттық</a:t>
            </a:r>
            <a:r>
              <a:rPr lang="ru-RU" sz="20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20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сыздандыру</a:t>
            </a:r>
            <a:endParaRPr lang="ru-RU" sz="20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xmlns="" id="{D84799ED-D412-4043-B8B7-75A4D11EB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1357" y="966075"/>
            <a:ext cx="4114800" cy="2944052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онентті</a:t>
            </a:r>
            <a:r>
              <a:rPr 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лас</a:t>
            </a:r>
            <a:r>
              <a:rPr 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Б пен ЭЫДҰ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кірі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ғұрлым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қты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1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ің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ШЫЛЫҚ ҚАБІЛЕТІН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ің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14338" indent="-214313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tabLst>
                <a:tab pos="70247" algn="l"/>
                <a:tab pos="133350" algn="l"/>
              </a:tabLst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джетте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ЖЗҚ-дан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ті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лардың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ы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екстеу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14338" indent="-214313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tabLst>
                <a:tab pos="70247" algn="l"/>
                <a:tab pos="133350" algn="l"/>
              </a:tabLst>
              <a:defRPr/>
            </a:pP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лығы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endParaRPr lang="ru-RU" sz="11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0025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alt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alt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alt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alt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alt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alt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дан </a:t>
            </a:r>
            <a:r>
              <a:rPr lang="ru-RU" alt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9 </a:t>
            </a:r>
            <a:r>
              <a:rPr lang="ru-RU" alt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</a:t>
            </a:r>
            <a:r>
              <a:rPr lang="ru-RU" alt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КЗЖ </a:t>
            </a:r>
            <a:r>
              <a:rPr lang="ru-RU" alt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altLang="ru-RU" sz="1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ық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ге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КЗЖ-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Б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4</a:t>
            </a:r>
            <a:r>
              <a:rPr lang="en-US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en-US" altLang="ru-RU" sz="1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endParaRPr lang="ru-RU" altLang="ru-RU" sz="1100" b="1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8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тан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пілдік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ға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endParaRPr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xmlns="" id="{9E270781-B4AE-49FC-AC8F-2CCDB53058F6}"/>
              </a:ext>
            </a:extLst>
          </p:cNvPr>
          <p:cNvSpPr txBox="1"/>
          <p:nvPr/>
        </p:nvSpPr>
        <p:spPr>
          <a:xfrm>
            <a:off x="194202" y="571551"/>
            <a:ext cx="1253144" cy="62572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Қарттықта қолдаудың </a:t>
            </a: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үрі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6" name="object 120">
            <a:extLst>
              <a:ext uri="{FF2B5EF4-FFF2-40B4-BE49-F238E27FC236}">
                <a16:creationId xmlns:a16="http://schemas.microsoft.com/office/drawing/2014/main" xmlns="" id="{754ACE02-1C66-45E9-8D62-7805F6481998}"/>
              </a:ext>
            </a:extLst>
          </p:cNvPr>
          <p:cNvSpPr/>
          <p:nvPr/>
        </p:nvSpPr>
        <p:spPr>
          <a:xfrm>
            <a:off x="378115" y="1273996"/>
            <a:ext cx="3938543" cy="4571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121">
            <a:extLst>
              <a:ext uri="{FF2B5EF4-FFF2-40B4-BE49-F238E27FC236}">
                <a16:creationId xmlns:a16="http://schemas.microsoft.com/office/drawing/2014/main" xmlns="" id="{00BB7836-2D5A-45AB-9BEA-E64F388B74DB}"/>
              </a:ext>
            </a:extLst>
          </p:cNvPr>
          <p:cNvSpPr/>
          <p:nvPr/>
        </p:nvSpPr>
        <p:spPr>
          <a:xfrm>
            <a:off x="378115" y="540604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xmlns="" id="{3019FA92-E8E9-467B-AC4C-433FD16D344C}"/>
              </a:ext>
            </a:extLst>
          </p:cNvPr>
          <p:cNvSpPr txBox="1"/>
          <p:nvPr/>
        </p:nvSpPr>
        <p:spPr>
          <a:xfrm>
            <a:off x="1508930" y="587695"/>
            <a:ext cx="1253144" cy="44106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заңда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реттеледі</a:t>
            </a: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xmlns="" id="{E5FBF1CD-3C02-4F13-8044-7FE83E7E7C5A}"/>
              </a:ext>
            </a:extLst>
          </p:cNvPr>
          <p:cNvSpPr txBox="1"/>
          <p:nvPr/>
        </p:nvSpPr>
        <p:spPr>
          <a:xfrm>
            <a:off x="2842416" y="565138"/>
            <a:ext cx="1501801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өлемдер көлемі </a:t>
            </a:r>
            <a:r>
              <a:rPr lang="kk-KZ" b="1" kern="1200" dirty="0" err="1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РБ-дан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</a:t>
            </a: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6 </a:t>
            </a:r>
            <a:endParaRPr lang="kk-KZ" sz="1600" b="1" kern="1000" dirty="0">
              <a:solidFill>
                <a:srgbClr val="00206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рлн. 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еңге</a:t>
            </a:r>
            <a:endParaRPr lang="kk-KZ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0691ADB-B8C9-464A-8060-D99330B5CDC6}"/>
              </a:ext>
            </a:extLst>
          </p:cNvPr>
          <p:cNvSpPr/>
          <p:nvPr/>
        </p:nvSpPr>
        <p:spPr>
          <a:xfrm>
            <a:off x="4456943" y="602275"/>
            <a:ext cx="4379340" cy="3384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6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МЫНАЛАР ҰСЫНЫЛАДЫ:</a:t>
            </a:r>
            <a:endParaRPr lang="ru-RU" sz="1600" b="1" spc="-5" dirty="0">
              <a:solidFill>
                <a:srgbClr val="C09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bject 79">
            <a:extLst>
              <a:ext uri="{FF2B5EF4-FFF2-40B4-BE49-F238E27FC236}">
                <a16:creationId xmlns:a16="http://schemas.microsoft.com/office/drawing/2014/main" xmlns="" id="{163CDA2C-2DBA-40D5-9EB0-A9BF61897D28}"/>
              </a:ext>
            </a:extLst>
          </p:cNvPr>
          <p:cNvSpPr/>
          <p:nvPr/>
        </p:nvSpPr>
        <p:spPr>
          <a:xfrm>
            <a:off x="4484669" y="1040687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0C82E90-5427-4829-BD6D-C559F572960F}"/>
              </a:ext>
            </a:extLst>
          </p:cNvPr>
          <p:cNvSpPr/>
          <p:nvPr/>
        </p:nvSpPr>
        <p:spPr>
          <a:xfrm>
            <a:off x="5368640" y="4243397"/>
            <a:ext cx="3467643" cy="6831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ейнетақыме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мсыздандыр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еңгей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оғалтылға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абыст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емінде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40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%-ы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еңгейінде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қтап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л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ңбек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тынастары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формализациялауд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ынталандыру</a:t>
            </a:r>
            <a:endParaRPr lang="ru-RU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3" name="object 84">
            <a:extLst>
              <a:ext uri="{FF2B5EF4-FFF2-40B4-BE49-F238E27FC236}">
                <a16:creationId xmlns:a16="http://schemas.microsoft.com/office/drawing/2014/main" xmlns="" id="{A7C1D078-7812-4E7B-B4B9-A92DA9DCD0DB}"/>
              </a:ext>
            </a:extLst>
          </p:cNvPr>
          <p:cNvSpPr/>
          <p:nvPr/>
        </p:nvSpPr>
        <p:spPr>
          <a:xfrm>
            <a:off x="4433127" y="4218036"/>
            <a:ext cx="4403156" cy="683149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1C190F4E-8E25-4034-9E12-7650E7D5C9EA}"/>
              </a:ext>
            </a:extLst>
          </p:cNvPr>
          <p:cNvSpPr/>
          <p:nvPr/>
        </p:nvSpPr>
        <p:spPr>
          <a:xfrm>
            <a:off x="4408866" y="4401872"/>
            <a:ext cx="1195854" cy="307661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4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ӘСЕР: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B712D60-22CA-487F-9335-4D0CE7D340E9}"/>
              </a:ext>
            </a:extLst>
          </p:cNvPr>
          <p:cNvSpPr txBox="1"/>
          <p:nvPr/>
        </p:nvSpPr>
        <p:spPr>
          <a:xfrm>
            <a:off x="1100962" y="1404186"/>
            <a:ext cx="2962719" cy="652371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2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лн.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азалық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ейнетақ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луш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(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рташ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өлшер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– </a:t>
            </a:r>
            <a:r>
              <a:rPr lang="ru-RU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29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704 </a:t>
            </a:r>
            <a:r>
              <a:rPr lang="ru-RU" b="1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B065A8B-B8D6-4297-B590-6ED52ECB0CC9}"/>
              </a:ext>
            </a:extLst>
          </p:cNvPr>
          <p:cNvSpPr txBox="1"/>
          <p:nvPr/>
        </p:nvSpPr>
        <p:spPr>
          <a:xfrm>
            <a:off x="1122288" y="2219394"/>
            <a:ext cx="3132983" cy="757015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3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лн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ртақ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ейнетақы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лушы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  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(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рташ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өлшер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65 029 </a:t>
            </a:r>
            <a:r>
              <a:rPr lang="ru-RU" b="1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)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430D8DED-E955-4185-B7D0-39F3517566BF}"/>
              </a:ext>
            </a:extLst>
          </p:cNvPr>
          <p:cNvGrpSpPr/>
          <p:nvPr/>
        </p:nvGrpSpPr>
        <p:grpSpPr>
          <a:xfrm>
            <a:off x="782530" y="1673028"/>
            <a:ext cx="283491" cy="2056742"/>
            <a:chOff x="4971182" y="972662"/>
            <a:chExt cx="257955" cy="1758186"/>
          </a:xfrm>
        </p:grpSpPr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xmlns="" id="{F66216C3-97DE-403C-A385-74A3411B5B38}"/>
                </a:ext>
              </a:extLst>
            </p:cNvPr>
            <p:cNvCxnSpPr/>
            <p:nvPr/>
          </p:nvCxnSpPr>
          <p:spPr>
            <a:xfrm>
              <a:off x="4971182" y="972662"/>
              <a:ext cx="5955" cy="175818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xmlns="" id="{83985720-7243-4387-845A-8BCA9731AF97}"/>
                </a:ext>
              </a:extLst>
            </p:cNvPr>
            <p:cNvGrpSpPr/>
            <p:nvPr/>
          </p:nvGrpSpPr>
          <p:grpSpPr>
            <a:xfrm>
              <a:off x="4977137" y="972662"/>
              <a:ext cx="252000" cy="869555"/>
              <a:chOff x="4977878" y="888099"/>
              <a:chExt cx="252000" cy="869555"/>
            </a:xfrm>
          </p:grpSpPr>
          <p:cxnSp>
            <p:nvCxnSpPr>
              <p:cNvPr id="20" name="Прямая со стрелкой 19">
                <a:extLst>
                  <a:ext uri="{FF2B5EF4-FFF2-40B4-BE49-F238E27FC236}">
                    <a16:creationId xmlns:a16="http://schemas.microsoft.com/office/drawing/2014/main" xmlns="" id="{4BDEC635-A5B1-45F1-A441-DDE2E89E80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1" name="Прямая со стрелкой 20">
                <a:extLst>
                  <a:ext uri="{FF2B5EF4-FFF2-40B4-BE49-F238E27FC236}">
                    <a16:creationId xmlns:a16="http://schemas.microsoft.com/office/drawing/2014/main" xmlns="" id="{0CCAFBE0-4C80-4B32-918E-120566AE83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75765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xmlns="" id="{A5ABB337-89F8-44A5-92CC-01602F00AA15}"/>
              </a:ext>
            </a:extLst>
          </p:cNvPr>
          <p:cNvCxnSpPr>
            <a:cxnSpLocks/>
          </p:cNvCxnSpPr>
          <p:nvPr/>
        </p:nvCxnSpPr>
        <p:spPr>
          <a:xfrm>
            <a:off x="804990" y="3729767"/>
            <a:ext cx="27694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614FF732-B86B-4C71-A654-916F243E9BEE}"/>
              </a:ext>
            </a:extLst>
          </p:cNvPr>
          <p:cNvSpPr txBox="1"/>
          <p:nvPr/>
        </p:nvSpPr>
        <p:spPr>
          <a:xfrm>
            <a:off x="107396" y="4215228"/>
            <a:ext cx="4176787" cy="810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 err="1" smtClean="0">
                <a:solidFill>
                  <a:srgbClr val="002060"/>
                </a:solidFill>
              </a:rPr>
              <a:t>Зейнетақыме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қамсыздандыру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деңгейі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төмендету</a:t>
            </a:r>
            <a:r>
              <a:rPr lang="ru-RU" sz="1300" dirty="0" smtClean="0">
                <a:solidFill>
                  <a:srgbClr val="002060"/>
                </a:solidFill>
              </a:rPr>
              <a:t>:</a:t>
            </a:r>
          </a:p>
          <a:p>
            <a:pPr marL="228330" indent="-228330"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Төме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кіріс</a:t>
            </a:r>
            <a:r>
              <a:rPr lang="ru-RU" sz="1300" dirty="0" smtClean="0">
                <a:solidFill>
                  <a:srgbClr val="002060"/>
                </a:solidFill>
              </a:rPr>
              <a:t>: </a:t>
            </a:r>
            <a:r>
              <a:rPr lang="ru-RU" sz="1300" dirty="0" err="1" smtClean="0">
                <a:solidFill>
                  <a:srgbClr val="002060"/>
                </a:solidFill>
              </a:rPr>
              <a:t>адамдардың</a:t>
            </a:r>
            <a:r>
              <a:rPr lang="ru-RU" sz="1300" dirty="0" smtClean="0">
                <a:solidFill>
                  <a:srgbClr val="002060"/>
                </a:solidFill>
              </a:rPr>
              <a:t> 50%-</a:t>
            </a:r>
            <a:r>
              <a:rPr lang="ru-RU" sz="1300" dirty="0" err="1" smtClean="0">
                <a:solidFill>
                  <a:srgbClr val="002060"/>
                </a:solidFill>
              </a:rPr>
              <a:t>ына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артық</a:t>
            </a:r>
            <a:r>
              <a:rPr lang="ru-RU" sz="1300" dirty="0" smtClean="0">
                <a:solidFill>
                  <a:srgbClr val="002060"/>
                </a:solidFill>
              </a:rPr>
              <a:t> - 2 ЕТЖ-</a:t>
            </a:r>
            <a:r>
              <a:rPr lang="ru-RU" sz="1300" dirty="0" err="1" smtClean="0">
                <a:solidFill>
                  <a:srgbClr val="002060"/>
                </a:solidFill>
              </a:rPr>
              <a:t>ға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дейін</a:t>
            </a:r>
            <a:endParaRPr lang="ru-RU" sz="1300" dirty="0" smtClean="0">
              <a:solidFill>
                <a:srgbClr val="002060"/>
              </a:solidFill>
            </a:endParaRPr>
          </a:p>
          <a:p>
            <a:pPr marL="228330" indent="-228330"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Жарналарды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уақтылы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төлемеу</a:t>
            </a:r>
            <a:endParaRPr lang="ru-RU" sz="1300" dirty="0">
              <a:solidFill>
                <a:srgbClr val="002060"/>
              </a:solidFill>
            </a:endParaRPr>
          </a:p>
          <a:p>
            <a:pPr marL="228330" indent="-228330">
              <a:buFont typeface="Arial"/>
              <a:buAutoNum type="arabicPeriod"/>
            </a:pPr>
            <a:r>
              <a:rPr lang="ru-RU" sz="1300" dirty="0" err="1" smtClean="0">
                <a:solidFill>
                  <a:srgbClr val="002060"/>
                </a:solidFill>
              </a:rPr>
              <a:t>Төмен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инвестициялық</a:t>
            </a:r>
            <a:r>
              <a:rPr lang="ru-RU" sz="1300" dirty="0" smtClean="0">
                <a:solidFill>
                  <a:srgbClr val="002060"/>
                </a:solidFill>
              </a:rPr>
              <a:t> </a:t>
            </a:r>
            <a:r>
              <a:rPr lang="ru-RU" sz="1300" dirty="0" err="1" smtClean="0">
                <a:solidFill>
                  <a:srgbClr val="002060"/>
                </a:solidFill>
              </a:rPr>
              <a:t>кірістілік</a:t>
            </a:r>
            <a:r>
              <a:rPr lang="ru-RU" sz="1300" dirty="0" smtClean="0">
                <a:solidFill>
                  <a:srgbClr val="002060"/>
                </a:solidFill>
              </a:rPr>
              <a:t>: </a:t>
            </a:r>
            <a:r>
              <a:rPr lang="ru-RU" sz="1300" dirty="0" err="1" smtClean="0">
                <a:solidFill>
                  <a:srgbClr val="002060"/>
                </a:solidFill>
              </a:rPr>
              <a:t>жылына</a:t>
            </a:r>
            <a:r>
              <a:rPr lang="ru-RU" sz="1300" dirty="0" smtClean="0">
                <a:solidFill>
                  <a:srgbClr val="002060"/>
                </a:solidFill>
              </a:rPr>
              <a:t> 1%-дан </a:t>
            </a:r>
            <a:r>
              <a:rPr lang="ru-RU" sz="1300" dirty="0" err="1" smtClean="0">
                <a:solidFill>
                  <a:srgbClr val="002060"/>
                </a:solidFill>
              </a:rPr>
              <a:t>төмен</a:t>
            </a:r>
            <a:endParaRPr lang="ru-RU" sz="1300" dirty="0">
              <a:solidFill>
                <a:srgbClr val="002060"/>
              </a:solidFill>
            </a:endParaRPr>
          </a:p>
        </p:txBody>
      </p:sp>
      <p:pic>
        <p:nvPicPr>
          <p:cNvPr id="24" name="Picture 7">
            <a:extLst>
              <a:ext uri="{FF2B5EF4-FFF2-40B4-BE49-F238E27FC236}">
                <a16:creationId xmlns:a16="http://schemas.microsoft.com/office/drawing/2014/main" xmlns="" id="{0D7D7C9C-3859-4B00-A25C-142E4BA83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00" y="2415653"/>
            <a:ext cx="782530" cy="6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A3AA685-C130-4C89-B07F-718B11318A65}"/>
              </a:ext>
            </a:extLst>
          </p:cNvPr>
          <p:cNvSpPr txBox="1"/>
          <p:nvPr/>
        </p:nvSpPr>
        <p:spPr>
          <a:xfrm>
            <a:off x="1086907" y="3092372"/>
            <a:ext cx="3132983" cy="88012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62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БЖЗҚ-дан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луш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(</a:t>
            </a:r>
            <a:r>
              <a:rPr lang="ru-RU" sz="11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рташа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өлшері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– </a:t>
            </a:r>
            <a:r>
              <a:rPr lang="ru-RU" sz="11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28 </a:t>
            </a:r>
            <a:r>
              <a:rPr lang="ru-RU" sz="11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sz="11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, </a:t>
            </a:r>
            <a:r>
              <a:rPr lang="ru-RU" sz="11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инақтар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лемі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– </a:t>
            </a:r>
            <a:r>
              <a:rPr lang="ru-RU" sz="11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13 трлн</a:t>
            </a:r>
            <a:r>
              <a:rPr lang="ru-RU" sz="11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sz="11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sz="11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)</a:t>
            </a:r>
          </a:p>
        </p:txBody>
      </p:sp>
      <p:sp>
        <p:nvSpPr>
          <p:cNvPr id="26" name="object 79">
            <a:extLst>
              <a:ext uri="{FF2B5EF4-FFF2-40B4-BE49-F238E27FC236}">
                <a16:creationId xmlns:a16="http://schemas.microsoft.com/office/drawing/2014/main" xmlns="" id="{24E8A683-73A9-4F29-BF0F-BB20A5C311BD}"/>
              </a:ext>
            </a:extLst>
          </p:cNvPr>
          <p:cNvSpPr/>
          <p:nvPr/>
        </p:nvSpPr>
        <p:spPr>
          <a:xfrm>
            <a:off x="4498672" y="174817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bject 79">
            <a:extLst>
              <a:ext uri="{FF2B5EF4-FFF2-40B4-BE49-F238E27FC236}">
                <a16:creationId xmlns:a16="http://schemas.microsoft.com/office/drawing/2014/main" xmlns="" id="{31441E09-53D1-464C-8B4B-CD7948700685}"/>
              </a:ext>
            </a:extLst>
          </p:cNvPr>
          <p:cNvSpPr/>
          <p:nvPr/>
        </p:nvSpPr>
        <p:spPr>
          <a:xfrm>
            <a:off x="4505022" y="309437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bject 79">
            <a:extLst>
              <a:ext uri="{FF2B5EF4-FFF2-40B4-BE49-F238E27FC236}">
                <a16:creationId xmlns:a16="http://schemas.microsoft.com/office/drawing/2014/main" xmlns="" id="{431E4A96-69AA-4592-9E17-F693963EF286}"/>
              </a:ext>
            </a:extLst>
          </p:cNvPr>
          <p:cNvSpPr/>
          <p:nvPr/>
        </p:nvSpPr>
        <p:spPr>
          <a:xfrm>
            <a:off x="4517722" y="369762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7195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091D07B0-2162-49A0-BD8E-7AFAEC4F8933}"/>
              </a:ext>
            </a:extLst>
          </p:cNvPr>
          <p:cNvSpPr/>
          <p:nvPr/>
        </p:nvSpPr>
        <p:spPr>
          <a:xfrm>
            <a:off x="5782677" y="1249272"/>
            <a:ext cx="3208924" cy="300494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323">
            <a:extLst>
              <a:ext uri="{FF2B5EF4-FFF2-40B4-BE49-F238E27FC236}">
                <a16:creationId xmlns="" xmlns:a16="http://schemas.microsoft.com/office/drawing/2014/main" id="{02713EE4-BBE3-483B-BC9A-25F15A4AA63E}"/>
              </a:ext>
            </a:extLst>
          </p:cNvPr>
          <p:cNvSpPr>
            <a:spLocks/>
          </p:cNvSpPr>
          <p:nvPr/>
        </p:nvSpPr>
        <p:spPr bwMode="gray">
          <a:xfrm>
            <a:off x="5271621" y="3070095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8" name="Rectangle 323">
            <a:extLst>
              <a:ext uri="{FF2B5EF4-FFF2-40B4-BE49-F238E27FC236}">
                <a16:creationId xmlns="" xmlns:a16="http://schemas.microsoft.com/office/drawing/2014/main" id="{935EA181-4DD0-4F61-9EC0-CAF674FFE085}"/>
              </a:ext>
            </a:extLst>
          </p:cNvPr>
          <p:cNvSpPr>
            <a:spLocks/>
          </p:cNvSpPr>
          <p:nvPr/>
        </p:nvSpPr>
        <p:spPr bwMode="gray">
          <a:xfrm>
            <a:off x="5286589" y="2268900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59345" y="73199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65884"/>
            <a:ext cx="9144000" cy="591115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әсілдер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  <a:p>
            <a:pPr algn="ctr"/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3.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стандарттар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ұсынудың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интеграцияланған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оделі</a:t>
            </a:r>
            <a:endParaRPr lang="ru-RU" sz="18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802316" y="1253823"/>
            <a:ext cx="3207013" cy="3370012"/>
          </a:xfrm>
          <a:prstGeom prst="rect">
            <a:avLst/>
          </a:prstGeom>
        </p:spPr>
        <p:txBody>
          <a:bodyPr wrap="square" lIns="91309" tIns="45650" rIns="91309" bIns="45650">
            <a:spAutoFit/>
          </a:bodyPr>
          <a:lstStyle/>
          <a:p>
            <a:pPr defTabSz="724923" fontAlgn="base">
              <a:spcAft>
                <a:spcPts val="1800"/>
              </a:spcAft>
              <a:buClrTx/>
            </a:pP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Ведомствоаралық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өзара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                            </a:t>
            </a: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іс-қимылды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азаматтардың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қажеттіліктері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аясында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шоғырландыру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sz="1400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Азаматтардың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жағдайын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бағалау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үшін</a:t>
            </a:r>
            <a:r>
              <a:rPr lang="ru-RU" sz="1400" kern="1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«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Цифрлық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әлеуметтік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картаны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»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енгізу</a:t>
            </a:r>
            <a:endParaRPr lang="ru-RU" sz="1400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Отбасылардың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мұқтаждық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жағдайынан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шығуын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ынталандыру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endPara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Әлеуметтік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саланың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бағыттары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бойынша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алдын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алу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шараларын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қабылдау</a:t>
            </a:r>
            <a:endPara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C47768D7-0656-46E6-95E4-6CDB196514B7}"/>
              </a:ext>
            </a:extLst>
          </p:cNvPr>
          <p:cNvGrpSpPr/>
          <p:nvPr/>
        </p:nvGrpSpPr>
        <p:grpSpPr>
          <a:xfrm>
            <a:off x="102047" y="1485909"/>
            <a:ext cx="4941232" cy="2406283"/>
            <a:chOff x="44895" y="1168405"/>
            <a:chExt cx="4941232" cy="2406283"/>
          </a:xfrm>
        </p:grpSpPr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9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Cement trans="100000" crackSpacing="100"/>
                      </a14:imgEffect>
                      <a14:imgEffect>
                        <a14:sharpenSoften amount="-50000"/>
                      </a14:imgEffect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622510" y="1867329"/>
              <a:ext cx="1286745" cy="1184679"/>
            </a:xfrm>
            <a:prstGeom prst="rect">
              <a:avLst/>
            </a:prstGeom>
          </p:spPr>
        </p:pic>
        <p:pic>
          <p:nvPicPr>
            <p:cNvPr id="65" name="Рисунок 102" descr="Медицина"/>
            <p:cNvPicPr>
              <a:picLocks noChangeAspect="1"/>
            </p:cNvPicPr>
            <p:nvPr/>
          </p:nvPicPr>
          <p:blipFill>
            <a:blip r:embed="rId11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239" y="1930117"/>
              <a:ext cx="522568" cy="52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" name="Прямая со стрелкой 4"/>
            <p:cNvCxnSpPr/>
            <p:nvPr/>
          </p:nvCxnSpPr>
          <p:spPr>
            <a:xfrm flipH="1" flipV="1">
              <a:off x="3150115" y="2216526"/>
              <a:ext cx="503859" cy="6470"/>
            </a:xfrm>
            <a:prstGeom prst="straightConnector1">
              <a:avLst/>
            </a:prstGeom>
            <a:ln w="38100">
              <a:solidFill>
                <a:srgbClr val="1D499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 стрелкой 65"/>
            <p:cNvCxnSpPr/>
            <p:nvPr/>
          </p:nvCxnSpPr>
          <p:spPr>
            <a:xfrm>
              <a:off x="1023171" y="2222996"/>
              <a:ext cx="556381" cy="6470"/>
            </a:xfrm>
            <a:prstGeom prst="straightConnector1">
              <a:avLst/>
            </a:prstGeom>
            <a:ln w="38100">
              <a:solidFill>
                <a:srgbClr val="1D499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Группа 5">
              <a:extLst>
                <a:ext uri="{FF2B5EF4-FFF2-40B4-BE49-F238E27FC236}">
                  <a16:creationId xmlns="" xmlns:a16="http://schemas.microsoft.com/office/drawing/2014/main" id="{86B4F9F1-8B6B-45CF-862E-F7836F99D663}"/>
                </a:ext>
              </a:extLst>
            </p:cNvPr>
            <p:cNvGrpSpPr/>
            <p:nvPr/>
          </p:nvGrpSpPr>
          <p:grpSpPr>
            <a:xfrm>
              <a:off x="3825873" y="1867330"/>
              <a:ext cx="550106" cy="561810"/>
              <a:chOff x="3825873" y="1867330"/>
              <a:chExt cx="550106" cy="561810"/>
            </a:xfrm>
          </p:grpSpPr>
          <p:pic>
            <p:nvPicPr>
              <p:cNvPr id="68" name="CustomIcon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1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 bwMode="auto">
              <a:xfrm>
                <a:off x="3825873" y="1997920"/>
                <a:ext cx="545826" cy="431220"/>
              </a:xfrm>
              <a:prstGeom prst="rect">
                <a:avLst/>
              </a:prstGeom>
            </p:spPr>
          </p:pic>
          <p:sp>
            <p:nvSpPr>
              <p:cNvPr id="70" name="Овал 69"/>
              <p:cNvSpPr/>
              <p:nvPr/>
            </p:nvSpPr>
            <p:spPr bwMode="auto">
              <a:xfrm>
                <a:off x="3989390" y="1955006"/>
                <a:ext cx="386589" cy="30868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718DBF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TextBox 51"/>
              <p:cNvSpPr txBox="1">
                <a:spLocks noChangeArrowheads="1"/>
              </p:cNvSpPr>
              <p:nvPr/>
            </p:nvSpPr>
            <p:spPr bwMode="auto">
              <a:xfrm>
                <a:off x="4011621" y="1867330"/>
                <a:ext cx="335348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18DBF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т</a:t>
                </a:r>
              </a:p>
            </p:txBody>
          </p:sp>
        </p:grpSp>
        <p:pic>
          <p:nvPicPr>
            <p:cNvPr id="72" name="Рисунок 71"/>
            <p:cNvPicPr>
              <a:picLocks noChangeAspect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917" y="1253823"/>
              <a:ext cx="606057" cy="477881"/>
            </a:xfrm>
            <a:prstGeom prst="rect">
              <a:avLst/>
            </a:prstGeom>
          </p:spPr>
        </p:pic>
        <p:grpSp>
          <p:nvGrpSpPr>
            <p:cNvPr id="13" name="Группа 12"/>
            <p:cNvGrpSpPr/>
            <p:nvPr/>
          </p:nvGrpSpPr>
          <p:grpSpPr>
            <a:xfrm>
              <a:off x="1061272" y="1168405"/>
              <a:ext cx="537102" cy="653785"/>
              <a:chOff x="1654359" y="3877596"/>
              <a:chExt cx="824253" cy="883852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1654359" y="4345364"/>
                <a:ext cx="345916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2114955" y="4345364"/>
                <a:ext cx="363657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1908557" y="3877596"/>
                <a:ext cx="341029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44895" y="2438401"/>
              <a:ext cx="133402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ru-RU" sz="1000" b="1" dirty="0" err="1" smtClean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Денсаулық</a:t>
              </a:r>
              <a:r>
                <a:rPr lang="ru-RU" sz="1000" b="1" dirty="0" smtClean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 </a:t>
              </a:r>
              <a:r>
                <a:rPr lang="ru-RU" sz="1000" b="1" dirty="0" err="1" smtClean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сақтау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1902065" y="1514409"/>
              <a:ext cx="85792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kk-KZ" sz="1000" b="1" dirty="0" smtClean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Білім беру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3041364" y="2454081"/>
              <a:ext cx="194476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kk-KZ" sz="1000" b="1" dirty="0" smtClean="0">
                  <a:solidFill>
                    <a:srgbClr val="00206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Әлеуметтік көмек пен </a:t>
              </a:r>
            </a:p>
            <a:p>
              <a:pPr algn="ctr">
                <a:buClrTx/>
                <a:defRPr/>
              </a:pPr>
              <a:r>
                <a:rPr lang="kk-KZ" sz="1000" b="1" dirty="0" smtClean="0">
                  <a:solidFill>
                    <a:srgbClr val="00206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жұмыспен қамту шаралары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  <p:pic>
          <p:nvPicPr>
            <p:cNvPr id="97" name="Рисунок 96"/>
            <p:cNvPicPr>
              <a:picLocks noChangeAspect="1"/>
            </p:cNvPicPr>
            <p:nvPr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41550" t="4371" r="20632" b="38798"/>
            <a:stretch/>
          </p:blipFill>
          <p:spPr>
            <a:xfrm>
              <a:off x="903649" y="3104262"/>
              <a:ext cx="570326" cy="470426"/>
            </a:xfrm>
            <a:prstGeom prst="rect">
              <a:avLst/>
            </a:prstGeom>
          </p:spPr>
        </p:pic>
        <p:sp>
          <p:nvSpPr>
            <p:cNvPr id="98" name="Прямоугольник 97"/>
            <p:cNvSpPr/>
            <p:nvPr/>
          </p:nvSpPr>
          <p:spPr>
            <a:xfrm>
              <a:off x="1761187" y="3282290"/>
              <a:ext cx="126669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buClrTx/>
                <a:defRPr/>
              </a:pPr>
              <a:r>
                <a:rPr lang="kk-KZ" sz="1000" b="1" dirty="0" smtClean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Тұрғын үй көмегі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</p:grpSp>
      <p:sp>
        <p:nvSpPr>
          <p:cNvPr id="38" name="Rectangle 323">
            <a:extLst>
              <a:ext uri="{FF2B5EF4-FFF2-40B4-BE49-F238E27FC236}">
                <a16:creationId xmlns="" xmlns:a16="http://schemas.microsoft.com/office/drawing/2014/main" id="{4CBF70A9-5AAC-4AAE-86C4-F3D256F5A164}"/>
              </a:ext>
            </a:extLst>
          </p:cNvPr>
          <p:cNvSpPr>
            <a:spLocks/>
          </p:cNvSpPr>
          <p:nvPr/>
        </p:nvSpPr>
        <p:spPr bwMode="gray">
          <a:xfrm>
            <a:off x="5293732" y="1359034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5208218" y="1282000"/>
            <a:ext cx="455129" cy="542134"/>
            <a:chOff x="267526" y="5711186"/>
            <a:chExt cx="794579" cy="821233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Заголовок 1"/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88F07591-0BA9-4BDF-8914-972C2745328D}"/>
              </a:ext>
            </a:extLst>
          </p:cNvPr>
          <p:cNvGrpSpPr/>
          <p:nvPr/>
        </p:nvGrpSpPr>
        <p:grpSpPr>
          <a:xfrm>
            <a:off x="5206585" y="2192302"/>
            <a:ext cx="455129" cy="542134"/>
            <a:chOff x="267526" y="5711186"/>
            <a:chExt cx="794579" cy="821233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="" xmlns:a16="http://schemas.microsoft.com/office/drawing/2014/main" id="{3EDEA550-EED6-4479-829D-D0281E1EF276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Заголовок 1">
              <a:extLst>
                <a:ext uri="{FF2B5EF4-FFF2-40B4-BE49-F238E27FC236}">
                  <a16:creationId xmlns="" xmlns:a16="http://schemas.microsoft.com/office/drawing/2014/main" id="{E2CC8A2C-B319-40E0-B471-59714164A32B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="" xmlns:a16="http://schemas.microsoft.com/office/drawing/2014/main" id="{F39D95DE-4F33-4166-AB54-E313DAE5F539}"/>
              </a:ext>
            </a:extLst>
          </p:cNvPr>
          <p:cNvGrpSpPr/>
          <p:nvPr/>
        </p:nvGrpSpPr>
        <p:grpSpPr>
          <a:xfrm>
            <a:off x="5194955" y="2987845"/>
            <a:ext cx="455129" cy="542134"/>
            <a:chOff x="267526" y="5711186"/>
            <a:chExt cx="794579" cy="821233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="" xmlns:a16="http://schemas.microsoft.com/office/drawing/2014/main" id="{7791245B-219E-4112-916F-7DC7CD19234B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Заголовок 1">
              <a:extLst>
                <a:ext uri="{FF2B5EF4-FFF2-40B4-BE49-F238E27FC236}">
                  <a16:creationId xmlns="" xmlns:a16="http://schemas.microsoft.com/office/drawing/2014/main" id="{90F69D0D-F89D-4B50-BA75-3BAA91F9F655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CD205A74-E911-43B7-AFB8-9A511AA87C09}"/>
              </a:ext>
            </a:extLst>
          </p:cNvPr>
          <p:cNvCxnSpPr/>
          <p:nvPr/>
        </p:nvCxnSpPr>
        <p:spPr>
          <a:xfrm>
            <a:off x="4968240" y="919987"/>
            <a:ext cx="0" cy="3712973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2DB5DE42-A863-485E-AA2E-5F67F5B3272D}"/>
              </a:ext>
            </a:extLst>
          </p:cNvPr>
          <p:cNvGrpSpPr/>
          <p:nvPr/>
        </p:nvGrpSpPr>
        <p:grpSpPr>
          <a:xfrm>
            <a:off x="5209919" y="3657319"/>
            <a:ext cx="505270" cy="546483"/>
            <a:chOff x="5457318" y="3207012"/>
            <a:chExt cx="505270" cy="546483"/>
          </a:xfrm>
        </p:grpSpPr>
        <p:sp>
          <p:nvSpPr>
            <p:cNvPr id="51" name="Rectangle 323">
              <a:extLst>
                <a:ext uri="{FF2B5EF4-FFF2-40B4-BE49-F238E27FC236}">
                  <a16:creationId xmlns="" xmlns:a16="http://schemas.microsoft.com/office/drawing/2014/main" id="{E2406385-FFF6-4978-BBF3-567A4079CDA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984" y="3288399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52" name="Группа 51">
              <a:extLst>
                <a:ext uri="{FF2B5EF4-FFF2-40B4-BE49-F238E27FC236}">
                  <a16:creationId xmlns="" xmlns:a16="http://schemas.microsoft.com/office/drawing/2014/main" id="{6834A46E-1FC5-48C5-9281-AA1B917E0221}"/>
                </a:ext>
              </a:extLst>
            </p:cNvPr>
            <p:cNvGrpSpPr/>
            <p:nvPr/>
          </p:nvGrpSpPr>
          <p:grpSpPr>
            <a:xfrm>
              <a:off x="5457318" y="3207012"/>
              <a:ext cx="455129" cy="542134"/>
              <a:chOff x="267526" y="5711186"/>
              <a:chExt cx="794579" cy="821233"/>
            </a:xfrm>
          </p:grpSpPr>
          <p:sp>
            <p:nvSpPr>
              <p:cNvPr id="53" name="Прямоугольник 52">
                <a:extLst>
                  <a:ext uri="{FF2B5EF4-FFF2-40B4-BE49-F238E27FC236}">
                    <a16:creationId xmlns="" xmlns:a16="http://schemas.microsoft.com/office/drawing/2014/main" id="{C2793480-F6CD-4E6B-86A9-9EA71479B9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Заголовок 1">
                <a:extLst>
                  <a:ext uri="{FF2B5EF4-FFF2-40B4-BE49-F238E27FC236}">
                    <a16:creationId xmlns="" xmlns:a16="http://schemas.microsoft.com/office/drawing/2014/main" id="{F24135D3-DF04-4D29-A593-5B2DC78798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pic>
        <p:nvPicPr>
          <p:cNvPr id="76" name="Рисунок 75"/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11714" y="3390887"/>
            <a:ext cx="504369" cy="486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66909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1080A17B-0249-48E3-895F-56A42CF54573}"/>
              </a:ext>
            </a:extLst>
          </p:cNvPr>
          <p:cNvSpPr/>
          <p:nvPr/>
        </p:nvSpPr>
        <p:spPr>
          <a:xfrm>
            <a:off x="516363" y="687680"/>
            <a:ext cx="4975678" cy="407619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2281CA19-E2AA-4FC3-99F9-C46B5967537B}"/>
              </a:ext>
            </a:extLst>
          </p:cNvPr>
          <p:cNvSpPr/>
          <p:nvPr/>
        </p:nvSpPr>
        <p:spPr>
          <a:xfrm>
            <a:off x="6000386" y="1356957"/>
            <a:ext cx="851045" cy="21259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8DB140D7-3E11-4FFD-85E1-7A94E99D42AB}"/>
              </a:ext>
            </a:extLst>
          </p:cNvPr>
          <p:cNvGrpSpPr/>
          <p:nvPr/>
        </p:nvGrpSpPr>
        <p:grpSpPr>
          <a:xfrm>
            <a:off x="1513604" y="1356957"/>
            <a:ext cx="518312" cy="2082665"/>
            <a:chOff x="1241456" y="2918271"/>
            <a:chExt cx="874406" cy="2948036"/>
          </a:xfrm>
          <a:noFill/>
        </p:grpSpPr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xmlns="" id="{5D07E774-AE27-48EB-AD76-51BCC8636E5A}"/>
                </a:ext>
              </a:extLst>
            </p:cNvPr>
            <p:cNvGrpSpPr/>
            <p:nvPr/>
          </p:nvGrpSpPr>
          <p:grpSpPr>
            <a:xfrm>
              <a:off x="1241457" y="3949045"/>
              <a:ext cx="874405" cy="886487"/>
              <a:chOff x="7120841" y="764004"/>
              <a:chExt cx="838565" cy="1441477"/>
            </a:xfrm>
            <a:grpFill/>
          </p:grpSpPr>
          <p:sp>
            <p:nvSpPr>
              <p:cNvPr id="77" name="Блок-схема: магнитный диск 76">
                <a:extLst>
                  <a:ext uri="{FF2B5EF4-FFF2-40B4-BE49-F238E27FC236}">
                    <a16:creationId xmlns:a16="http://schemas.microsoft.com/office/drawing/2014/main" xmlns="" id="{54333ABE-B81F-4AAC-A55D-9E1AF858DE6F}"/>
                  </a:ext>
                </a:extLst>
              </p:cNvPr>
              <p:cNvSpPr/>
              <p:nvPr/>
            </p:nvSpPr>
            <p:spPr>
              <a:xfrm>
                <a:off x="7120841" y="1835546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8" name="Блок-схема: магнитный диск 77">
                <a:extLst>
                  <a:ext uri="{FF2B5EF4-FFF2-40B4-BE49-F238E27FC236}">
                    <a16:creationId xmlns:a16="http://schemas.microsoft.com/office/drawing/2014/main" xmlns="" id="{6AEF8D65-AE12-4A61-AA8C-675F3DAFDCA3}"/>
                  </a:ext>
                </a:extLst>
              </p:cNvPr>
              <p:cNvSpPr/>
              <p:nvPr/>
            </p:nvSpPr>
            <p:spPr>
              <a:xfrm>
                <a:off x="7120841" y="1484742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9" name="Блок-схема: магнитный диск 78">
                <a:extLst>
                  <a:ext uri="{FF2B5EF4-FFF2-40B4-BE49-F238E27FC236}">
                    <a16:creationId xmlns:a16="http://schemas.microsoft.com/office/drawing/2014/main" xmlns="" id="{FF5B79EF-AC71-4286-8DCE-6B8CFB47F0EB}"/>
                  </a:ext>
                </a:extLst>
              </p:cNvPr>
              <p:cNvSpPr/>
              <p:nvPr/>
            </p:nvSpPr>
            <p:spPr>
              <a:xfrm>
                <a:off x="7120841" y="1114808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0" name="Блок-схема: магнитный диск 79">
                <a:extLst>
                  <a:ext uri="{FF2B5EF4-FFF2-40B4-BE49-F238E27FC236}">
                    <a16:creationId xmlns:a16="http://schemas.microsoft.com/office/drawing/2014/main" xmlns="" id="{B9D44A57-8BBC-463A-A6E9-0B51C5A9DFC9}"/>
                  </a:ext>
                </a:extLst>
              </p:cNvPr>
              <p:cNvSpPr/>
              <p:nvPr/>
            </p:nvSpPr>
            <p:spPr>
              <a:xfrm>
                <a:off x="7120842" y="764004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xmlns="" id="{5DCFDBF0-2EF9-42A8-A1E8-24A27762EA67}"/>
                </a:ext>
              </a:extLst>
            </p:cNvPr>
            <p:cNvGrpSpPr/>
            <p:nvPr/>
          </p:nvGrpSpPr>
          <p:grpSpPr>
            <a:xfrm>
              <a:off x="1241456" y="2918271"/>
              <a:ext cx="874405" cy="886485"/>
              <a:chOff x="5956048" y="-912092"/>
              <a:chExt cx="838565" cy="1441475"/>
            </a:xfrm>
            <a:grpFill/>
          </p:grpSpPr>
          <p:sp>
            <p:nvSpPr>
              <p:cNvPr id="69" name="Блок-схема: магнитный диск 68">
                <a:extLst>
                  <a:ext uri="{FF2B5EF4-FFF2-40B4-BE49-F238E27FC236}">
                    <a16:creationId xmlns:a16="http://schemas.microsoft.com/office/drawing/2014/main" xmlns="" id="{C57DE91E-1995-4EFB-8F05-90246C833D70}"/>
                  </a:ext>
                </a:extLst>
              </p:cNvPr>
              <p:cNvSpPr/>
              <p:nvPr/>
            </p:nvSpPr>
            <p:spPr>
              <a:xfrm>
                <a:off x="5956048" y="159448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3" name="Блок-схема: магнитный диск 72">
                <a:extLst>
                  <a:ext uri="{FF2B5EF4-FFF2-40B4-BE49-F238E27FC236}">
                    <a16:creationId xmlns:a16="http://schemas.microsoft.com/office/drawing/2014/main" xmlns="" id="{FB67FEF2-293F-479D-947A-470DC1FB2661}"/>
                  </a:ext>
                </a:extLst>
              </p:cNvPr>
              <p:cNvSpPr/>
              <p:nvPr/>
            </p:nvSpPr>
            <p:spPr>
              <a:xfrm>
                <a:off x="5956048" y="-191355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4" name="Блок-схема: магнитный диск 73">
                <a:extLst>
                  <a:ext uri="{FF2B5EF4-FFF2-40B4-BE49-F238E27FC236}">
                    <a16:creationId xmlns:a16="http://schemas.microsoft.com/office/drawing/2014/main" xmlns="" id="{0DFC2589-D128-40EE-B0C2-A1E8EEA8990E}"/>
                  </a:ext>
                </a:extLst>
              </p:cNvPr>
              <p:cNvSpPr/>
              <p:nvPr/>
            </p:nvSpPr>
            <p:spPr>
              <a:xfrm>
                <a:off x="5956048" y="-561290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Блок-схема: магнитный диск 74">
                <a:extLst>
                  <a:ext uri="{FF2B5EF4-FFF2-40B4-BE49-F238E27FC236}">
                    <a16:creationId xmlns:a16="http://schemas.microsoft.com/office/drawing/2014/main" xmlns="" id="{CBCD1C4B-2BE5-4CE1-852E-742F757C3EBF}"/>
                  </a:ext>
                </a:extLst>
              </p:cNvPr>
              <p:cNvSpPr/>
              <p:nvPr/>
            </p:nvSpPr>
            <p:spPr>
              <a:xfrm>
                <a:off x="5956049" y="-912092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xmlns="" id="{AEE9600D-2BF2-4080-B1F6-242C2DC597CF}"/>
                </a:ext>
              </a:extLst>
            </p:cNvPr>
            <p:cNvGrpSpPr/>
            <p:nvPr/>
          </p:nvGrpSpPr>
          <p:grpSpPr>
            <a:xfrm>
              <a:off x="1241458" y="4979821"/>
              <a:ext cx="874404" cy="886486"/>
              <a:chOff x="8305800" y="2459436"/>
              <a:chExt cx="838564" cy="1441476"/>
            </a:xfrm>
            <a:grpFill/>
          </p:grpSpPr>
          <p:sp>
            <p:nvSpPr>
              <p:cNvPr id="61" name="Блок-схема: магнитный диск 60">
                <a:extLst>
                  <a:ext uri="{FF2B5EF4-FFF2-40B4-BE49-F238E27FC236}">
                    <a16:creationId xmlns:a16="http://schemas.microsoft.com/office/drawing/2014/main" xmlns="" id="{AA55CB7D-7B2F-45EA-91CC-4E6A4288A9BE}"/>
                  </a:ext>
                </a:extLst>
              </p:cNvPr>
              <p:cNvSpPr/>
              <p:nvPr/>
            </p:nvSpPr>
            <p:spPr>
              <a:xfrm>
                <a:off x="8305800" y="3530977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2" name="Блок-схема: магнитный диск 61">
                <a:extLst>
                  <a:ext uri="{FF2B5EF4-FFF2-40B4-BE49-F238E27FC236}">
                    <a16:creationId xmlns:a16="http://schemas.microsoft.com/office/drawing/2014/main" xmlns="" id="{5B3F64CD-C766-4C64-B2D5-2F0154DD0D39}"/>
                  </a:ext>
                </a:extLst>
              </p:cNvPr>
              <p:cNvSpPr/>
              <p:nvPr/>
            </p:nvSpPr>
            <p:spPr>
              <a:xfrm>
                <a:off x="8305800" y="3180174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Блок-схема: магнитный диск 63">
                <a:extLst>
                  <a:ext uri="{FF2B5EF4-FFF2-40B4-BE49-F238E27FC236}">
                    <a16:creationId xmlns:a16="http://schemas.microsoft.com/office/drawing/2014/main" xmlns="" id="{1A6AD1CF-973C-42C8-B3F0-13A82EC68128}"/>
                  </a:ext>
                </a:extLst>
              </p:cNvPr>
              <p:cNvSpPr/>
              <p:nvPr/>
            </p:nvSpPr>
            <p:spPr>
              <a:xfrm>
                <a:off x="8305800" y="2810239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Блок-схема: магнитный диск 66">
                <a:extLst>
                  <a:ext uri="{FF2B5EF4-FFF2-40B4-BE49-F238E27FC236}">
                    <a16:creationId xmlns:a16="http://schemas.microsoft.com/office/drawing/2014/main" xmlns="" id="{C7A260FF-F7C9-42A7-A21E-C5CB4FB063EF}"/>
                  </a:ext>
                </a:extLst>
              </p:cNvPr>
              <p:cNvSpPr/>
              <p:nvPr/>
            </p:nvSpPr>
            <p:spPr>
              <a:xfrm>
                <a:off x="8305800" y="2459436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81" name="Блок-схема: магнитный диск 80">
            <a:extLst>
              <a:ext uri="{FF2B5EF4-FFF2-40B4-BE49-F238E27FC236}">
                <a16:creationId xmlns:a16="http://schemas.microsoft.com/office/drawing/2014/main" xmlns="" id="{8FA13ED6-EA83-4C62-9FE0-9FF67F9A5A8C}"/>
              </a:ext>
            </a:extLst>
          </p:cNvPr>
          <p:cNvSpPr/>
          <p:nvPr/>
        </p:nvSpPr>
        <p:spPr>
          <a:xfrm>
            <a:off x="2840687" y="2565094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Блок-схема: магнитный диск 81">
            <a:extLst>
              <a:ext uri="{FF2B5EF4-FFF2-40B4-BE49-F238E27FC236}">
                <a16:creationId xmlns:a16="http://schemas.microsoft.com/office/drawing/2014/main" xmlns="" id="{DEF8B1CF-4F90-49FC-B263-B48BB4D103C1}"/>
              </a:ext>
            </a:extLst>
          </p:cNvPr>
          <p:cNvSpPr/>
          <p:nvPr/>
        </p:nvSpPr>
        <p:spPr>
          <a:xfrm>
            <a:off x="2840687" y="2405315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Блок-схема: магнитный диск 82">
            <a:extLst>
              <a:ext uri="{FF2B5EF4-FFF2-40B4-BE49-F238E27FC236}">
                <a16:creationId xmlns:a16="http://schemas.microsoft.com/office/drawing/2014/main" xmlns="" id="{B9187493-ADB3-4CDB-BDBD-780250C60631}"/>
              </a:ext>
            </a:extLst>
          </p:cNvPr>
          <p:cNvSpPr/>
          <p:nvPr/>
        </p:nvSpPr>
        <p:spPr>
          <a:xfrm>
            <a:off x="2840687" y="2236823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Блок-схема: магнитный диск 83">
            <a:extLst>
              <a:ext uri="{FF2B5EF4-FFF2-40B4-BE49-F238E27FC236}">
                <a16:creationId xmlns:a16="http://schemas.microsoft.com/office/drawing/2014/main" xmlns="" id="{B4FD43B0-EA3D-463C-8A61-7C3D6241BE4C}"/>
              </a:ext>
            </a:extLst>
          </p:cNvPr>
          <p:cNvSpPr/>
          <p:nvPr/>
        </p:nvSpPr>
        <p:spPr>
          <a:xfrm>
            <a:off x="2840687" y="2077046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xmlns="" id="{DE1358AD-0A97-49C1-9FA5-D3861E8DAA96}"/>
              </a:ext>
            </a:extLst>
          </p:cNvPr>
          <p:cNvSpPr/>
          <p:nvPr/>
        </p:nvSpPr>
        <p:spPr>
          <a:xfrm>
            <a:off x="2764887" y="2337964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Овал 85">
            <a:extLst>
              <a:ext uri="{FF2B5EF4-FFF2-40B4-BE49-F238E27FC236}">
                <a16:creationId xmlns:a16="http://schemas.microsoft.com/office/drawing/2014/main" xmlns="" id="{31C1FBEA-4A35-4D8C-90D7-83A8D23A1E59}"/>
              </a:ext>
            </a:extLst>
          </p:cNvPr>
          <p:cNvSpPr/>
          <p:nvPr/>
        </p:nvSpPr>
        <p:spPr>
          <a:xfrm>
            <a:off x="1985240" y="1613308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>
            <a:extLst>
              <a:ext uri="{FF2B5EF4-FFF2-40B4-BE49-F238E27FC236}">
                <a16:creationId xmlns:a16="http://schemas.microsoft.com/office/drawing/2014/main" xmlns="" id="{60C96E23-0C6B-4403-BC1F-70B5B099D58A}"/>
              </a:ext>
            </a:extLst>
          </p:cNvPr>
          <p:cNvSpPr/>
          <p:nvPr/>
        </p:nvSpPr>
        <p:spPr>
          <a:xfrm>
            <a:off x="1963584" y="2332485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Овал 87">
            <a:extLst>
              <a:ext uri="{FF2B5EF4-FFF2-40B4-BE49-F238E27FC236}">
                <a16:creationId xmlns:a16="http://schemas.microsoft.com/office/drawing/2014/main" xmlns="" id="{02E7EE3D-BCC2-4A4F-8674-17B0856346EF}"/>
              </a:ext>
            </a:extLst>
          </p:cNvPr>
          <p:cNvSpPr/>
          <p:nvPr/>
        </p:nvSpPr>
        <p:spPr>
          <a:xfrm>
            <a:off x="1963584" y="3068895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xmlns="" id="{0C8C7113-A207-4AC1-B382-7B6979AADC99}"/>
              </a:ext>
            </a:extLst>
          </p:cNvPr>
          <p:cNvCxnSpPr>
            <a:stCxn id="86" idx="6"/>
            <a:endCxn id="85" idx="2"/>
          </p:cNvCxnSpPr>
          <p:nvPr/>
        </p:nvCxnSpPr>
        <p:spPr>
          <a:xfrm>
            <a:off x="2136838" y="1689107"/>
            <a:ext cx="628049" cy="7246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>
            <a:extLst>
              <a:ext uri="{FF2B5EF4-FFF2-40B4-BE49-F238E27FC236}">
                <a16:creationId xmlns:a16="http://schemas.microsoft.com/office/drawing/2014/main" xmlns="" id="{6EB4A6EC-8E55-44D0-BDDE-C46AD0F014C9}"/>
              </a:ext>
            </a:extLst>
          </p:cNvPr>
          <p:cNvCxnSpPr>
            <a:cxnSpLocks/>
            <a:stCxn id="87" idx="6"/>
            <a:endCxn id="85" idx="2"/>
          </p:cNvCxnSpPr>
          <p:nvPr/>
        </p:nvCxnSpPr>
        <p:spPr>
          <a:xfrm>
            <a:off x="2115181" y="2408284"/>
            <a:ext cx="649706" cy="54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xmlns="" id="{887F5279-4CA6-4BD9-8D46-E26D956612C1}"/>
              </a:ext>
            </a:extLst>
          </p:cNvPr>
          <p:cNvCxnSpPr>
            <a:stCxn id="88" idx="6"/>
            <a:endCxn id="85" idx="2"/>
          </p:cNvCxnSpPr>
          <p:nvPr/>
        </p:nvCxnSpPr>
        <p:spPr>
          <a:xfrm flipV="1">
            <a:off x="2115181" y="2413763"/>
            <a:ext cx="649706" cy="730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D20F86AA-DFC1-4D02-88F9-18A84AD10C7F}"/>
              </a:ext>
            </a:extLst>
          </p:cNvPr>
          <p:cNvSpPr/>
          <p:nvPr/>
        </p:nvSpPr>
        <p:spPr>
          <a:xfrm>
            <a:off x="3937718" y="1366082"/>
            <a:ext cx="1537636" cy="21168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0" name="Google Shape;4427;p45">
            <a:extLst>
              <a:ext uri="{FF2B5EF4-FFF2-40B4-BE49-F238E27FC236}">
                <a16:creationId xmlns:a16="http://schemas.microsoft.com/office/drawing/2014/main" xmlns="" id="{FE8ED6C6-1B06-4A6C-87B1-39857B359B10}"/>
              </a:ext>
            </a:extLst>
          </p:cNvPr>
          <p:cNvGrpSpPr/>
          <p:nvPr/>
        </p:nvGrpSpPr>
        <p:grpSpPr>
          <a:xfrm>
            <a:off x="4195358" y="1882974"/>
            <a:ext cx="1018425" cy="984797"/>
            <a:chOff x="-62890750" y="2296300"/>
            <a:chExt cx="330825" cy="317450"/>
          </a:xfrm>
          <a:solidFill>
            <a:srgbClr val="00B800">
              <a:alpha val="16000"/>
            </a:srgbClr>
          </a:solidFill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</p:grpSpPr>
        <p:sp>
          <p:nvSpPr>
            <p:cNvPr id="101" name="Google Shape;4428;p45">
              <a:extLst>
                <a:ext uri="{FF2B5EF4-FFF2-40B4-BE49-F238E27FC236}">
                  <a16:creationId xmlns:a16="http://schemas.microsoft.com/office/drawing/2014/main" xmlns="" id="{F9861EBD-1166-4F29-B897-A25899057529}"/>
                </a:ext>
              </a:extLst>
            </p:cNvPr>
            <p:cNvSpPr/>
            <p:nvPr/>
          </p:nvSpPr>
          <p:spPr>
            <a:xfrm>
              <a:off x="-62890750" y="2296300"/>
              <a:ext cx="313500" cy="195375"/>
            </a:xfrm>
            <a:custGeom>
              <a:avLst/>
              <a:gdLst/>
              <a:ahLst/>
              <a:cxnLst/>
              <a:rect l="l" t="t" r="r" b="b"/>
              <a:pathLst>
                <a:path w="12540" h="7815" extrusionOk="0">
                  <a:moveTo>
                    <a:pt x="11437" y="2080"/>
                  </a:moveTo>
                  <a:lnTo>
                    <a:pt x="11658" y="2931"/>
                  </a:lnTo>
                  <a:lnTo>
                    <a:pt x="10776" y="2742"/>
                  </a:lnTo>
                  <a:lnTo>
                    <a:pt x="11437" y="2080"/>
                  </a:lnTo>
                  <a:close/>
                  <a:moveTo>
                    <a:pt x="6617" y="1"/>
                  </a:moveTo>
                  <a:cubicBezTo>
                    <a:pt x="4916" y="1"/>
                    <a:pt x="3340" y="662"/>
                    <a:pt x="2112" y="1828"/>
                  </a:cubicBezTo>
                  <a:cubicBezTo>
                    <a:pt x="663" y="3277"/>
                    <a:pt x="1" y="5420"/>
                    <a:pt x="379" y="7467"/>
                  </a:cubicBezTo>
                  <a:cubicBezTo>
                    <a:pt x="442" y="7656"/>
                    <a:pt x="568" y="7814"/>
                    <a:pt x="789" y="7814"/>
                  </a:cubicBezTo>
                  <a:lnTo>
                    <a:pt x="852" y="7814"/>
                  </a:lnTo>
                  <a:cubicBezTo>
                    <a:pt x="1104" y="7783"/>
                    <a:pt x="1198" y="7562"/>
                    <a:pt x="1167" y="7341"/>
                  </a:cubicBezTo>
                  <a:cubicBezTo>
                    <a:pt x="852" y="5577"/>
                    <a:pt x="1419" y="3718"/>
                    <a:pt x="2710" y="2458"/>
                  </a:cubicBezTo>
                  <a:cubicBezTo>
                    <a:pt x="3719" y="1450"/>
                    <a:pt x="5136" y="851"/>
                    <a:pt x="6617" y="851"/>
                  </a:cubicBezTo>
                  <a:cubicBezTo>
                    <a:pt x="7940" y="851"/>
                    <a:pt x="9200" y="1324"/>
                    <a:pt x="10177" y="2206"/>
                  </a:cubicBezTo>
                  <a:lnTo>
                    <a:pt x="9610" y="2773"/>
                  </a:lnTo>
                  <a:cubicBezTo>
                    <a:pt x="9484" y="2899"/>
                    <a:pt x="9452" y="3057"/>
                    <a:pt x="9484" y="3183"/>
                  </a:cubicBezTo>
                  <a:cubicBezTo>
                    <a:pt x="9515" y="3340"/>
                    <a:pt x="9641" y="3403"/>
                    <a:pt x="9799" y="3466"/>
                  </a:cubicBezTo>
                  <a:lnTo>
                    <a:pt x="12036" y="3939"/>
                  </a:lnTo>
                  <a:lnTo>
                    <a:pt x="12130" y="3939"/>
                  </a:lnTo>
                  <a:cubicBezTo>
                    <a:pt x="12225" y="3939"/>
                    <a:pt x="12319" y="3876"/>
                    <a:pt x="12382" y="3813"/>
                  </a:cubicBezTo>
                  <a:cubicBezTo>
                    <a:pt x="12508" y="3687"/>
                    <a:pt x="12540" y="3561"/>
                    <a:pt x="12508" y="3403"/>
                  </a:cubicBezTo>
                  <a:lnTo>
                    <a:pt x="12036" y="1167"/>
                  </a:lnTo>
                  <a:cubicBezTo>
                    <a:pt x="12004" y="1009"/>
                    <a:pt x="11878" y="883"/>
                    <a:pt x="11752" y="851"/>
                  </a:cubicBezTo>
                  <a:cubicBezTo>
                    <a:pt x="11715" y="844"/>
                    <a:pt x="11678" y="840"/>
                    <a:pt x="11642" y="840"/>
                  </a:cubicBezTo>
                  <a:cubicBezTo>
                    <a:pt x="11526" y="840"/>
                    <a:pt x="11422" y="881"/>
                    <a:pt x="11374" y="977"/>
                  </a:cubicBezTo>
                  <a:lnTo>
                    <a:pt x="10776" y="1576"/>
                  </a:lnTo>
                  <a:cubicBezTo>
                    <a:pt x="9641" y="536"/>
                    <a:pt x="8129" y="1"/>
                    <a:pt x="6617" y="1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02" name="Google Shape;4429;p45">
              <a:extLst>
                <a:ext uri="{FF2B5EF4-FFF2-40B4-BE49-F238E27FC236}">
                  <a16:creationId xmlns:a16="http://schemas.microsoft.com/office/drawing/2014/main" xmlns="" id="{5336EE4D-B397-4529-9CD1-F2891677DECF}"/>
                </a:ext>
              </a:extLst>
            </p:cNvPr>
            <p:cNvSpPr/>
            <p:nvPr/>
          </p:nvSpPr>
          <p:spPr>
            <a:xfrm>
              <a:off x="-62874975" y="2417475"/>
              <a:ext cx="315050" cy="196275"/>
            </a:xfrm>
            <a:custGeom>
              <a:avLst/>
              <a:gdLst/>
              <a:ahLst/>
              <a:cxnLst/>
              <a:rect l="l" t="t" r="r" b="b"/>
              <a:pathLst>
                <a:path w="12602" h="7851" extrusionOk="0">
                  <a:moveTo>
                    <a:pt x="977" y="4857"/>
                  </a:moveTo>
                  <a:lnTo>
                    <a:pt x="1827" y="5078"/>
                  </a:lnTo>
                  <a:lnTo>
                    <a:pt x="1166" y="5739"/>
                  </a:lnTo>
                  <a:lnTo>
                    <a:pt x="977" y="4857"/>
                  </a:lnTo>
                  <a:close/>
                  <a:moveTo>
                    <a:pt x="11779" y="1"/>
                  </a:moveTo>
                  <a:cubicBezTo>
                    <a:pt x="11759" y="1"/>
                    <a:pt x="11739" y="2"/>
                    <a:pt x="11720" y="6"/>
                  </a:cubicBezTo>
                  <a:cubicBezTo>
                    <a:pt x="11499" y="69"/>
                    <a:pt x="11373" y="289"/>
                    <a:pt x="11405" y="478"/>
                  </a:cubicBezTo>
                  <a:cubicBezTo>
                    <a:pt x="11720" y="2274"/>
                    <a:pt x="11184" y="4101"/>
                    <a:pt x="9861" y="5361"/>
                  </a:cubicBezTo>
                  <a:cubicBezTo>
                    <a:pt x="8853" y="6401"/>
                    <a:pt x="7435" y="7000"/>
                    <a:pt x="5986" y="7000"/>
                  </a:cubicBezTo>
                  <a:cubicBezTo>
                    <a:pt x="4631" y="7000"/>
                    <a:pt x="3371" y="6527"/>
                    <a:pt x="2394" y="5645"/>
                  </a:cubicBezTo>
                  <a:lnTo>
                    <a:pt x="2993" y="5046"/>
                  </a:lnTo>
                  <a:cubicBezTo>
                    <a:pt x="3088" y="4952"/>
                    <a:pt x="3151" y="4794"/>
                    <a:pt x="3088" y="4668"/>
                  </a:cubicBezTo>
                  <a:cubicBezTo>
                    <a:pt x="3056" y="4511"/>
                    <a:pt x="2962" y="4416"/>
                    <a:pt x="2772" y="4385"/>
                  </a:cubicBezTo>
                  <a:lnTo>
                    <a:pt x="536" y="3912"/>
                  </a:lnTo>
                  <a:cubicBezTo>
                    <a:pt x="506" y="3905"/>
                    <a:pt x="476" y="3901"/>
                    <a:pt x="446" y="3901"/>
                  </a:cubicBezTo>
                  <a:cubicBezTo>
                    <a:pt x="350" y="3901"/>
                    <a:pt x="254" y="3942"/>
                    <a:pt x="158" y="4038"/>
                  </a:cubicBezTo>
                  <a:cubicBezTo>
                    <a:pt x="32" y="4164"/>
                    <a:pt x="0" y="4290"/>
                    <a:pt x="32" y="4448"/>
                  </a:cubicBezTo>
                  <a:lnTo>
                    <a:pt x="504" y="6685"/>
                  </a:lnTo>
                  <a:cubicBezTo>
                    <a:pt x="536" y="6842"/>
                    <a:pt x="662" y="6937"/>
                    <a:pt x="788" y="7000"/>
                  </a:cubicBezTo>
                  <a:lnTo>
                    <a:pt x="882" y="7000"/>
                  </a:lnTo>
                  <a:cubicBezTo>
                    <a:pt x="1008" y="7000"/>
                    <a:pt x="1103" y="6968"/>
                    <a:pt x="1166" y="6874"/>
                  </a:cubicBezTo>
                  <a:lnTo>
                    <a:pt x="1764" y="6275"/>
                  </a:lnTo>
                  <a:cubicBezTo>
                    <a:pt x="2899" y="7315"/>
                    <a:pt x="4411" y="7850"/>
                    <a:pt x="5923" y="7850"/>
                  </a:cubicBezTo>
                  <a:cubicBezTo>
                    <a:pt x="7624" y="7850"/>
                    <a:pt x="9200" y="7189"/>
                    <a:pt x="10428" y="6023"/>
                  </a:cubicBezTo>
                  <a:cubicBezTo>
                    <a:pt x="11909" y="4511"/>
                    <a:pt x="12602" y="2400"/>
                    <a:pt x="12192" y="321"/>
                  </a:cubicBezTo>
                  <a:cubicBezTo>
                    <a:pt x="12164" y="123"/>
                    <a:pt x="11958" y="1"/>
                    <a:pt x="11779" y="1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03" name="Google Shape;4430;p45">
              <a:extLst>
                <a:ext uri="{FF2B5EF4-FFF2-40B4-BE49-F238E27FC236}">
                  <a16:creationId xmlns:a16="http://schemas.microsoft.com/office/drawing/2014/main" xmlns="" id="{002A487D-8157-473E-8421-45C2F87A0489}"/>
                </a:ext>
              </a:extLst>
            </p:cNvPr>
            <p:cNvSpPr/>
            <p:nvPr/>
          </p:nvSpPr>
          <p:spPr>
            <a:xfrm>
              <a:off x="-62822198" y="2357750"/>
              <a:ext cx="193000" cy="192975"/>
            </a:xfrm>
            <a:custGeom>
              <a:avLst/>
              <a:gdLst/>
              <a:ahLst/>
              <a:cxnLst/>
              <a:rect l="l" t="t" r="r" b="b"/>
              <a:pathLst>
                <a:path w="7720" h="7719" extrusionOk="0">
                  <a:moveTo>
                    <a:pt x="2238" y="1323"/>
                  </a:moveTo>
                  <a:lnTo>
                    <a:pt x="2238" y="1323"/>
                  </a:lnTo>
                  <a:cubicBezTo>
                    <a:pt x="2143" y="1544"/>
                    <a:pt x="2049" y="1827"/>
                    <a:pt x="1986" y="2111"/>
                  </a:cubicBezTo>
                  <a:lnTo>
                    <a:pt x="1419" y="2111"/>
                  </a:lnTo>
                  <a:cubicBezTo>
                    <a:pt x="1671" y="1796"/>
                    <a:pt x="1923" y="1512"/>
                    <a:pt x="2238" y="1323"/>
                  </a:cubicBezTo>
                  <a:close/>
                  <a:moveTo>
                    <a:pt x="3466" y="1040"/>
                  </a:moveTo>
                  <a:lnTo>
                    <a:pt x="3466" y="2111"/>
                  </a:lnTo>
                  <a:lnTo>
                    <a:pt x="2836" y="2111"/>
                  </a:lnTo>
                  <a:cubicBezTo>
                    <a:pt x="2994" y="1575"/>
                    <a:pt x="3246" y="1229"/>
                    <a:pt x="3466" y="1040"/>
                  </a:cubicBezTo>
                  <a:close/>
                  <a:moveTo>
                    <a:pt x="4254" y="1040"/>
                  </a:moveTo>
                  <a:cubicBezTo>
                    <a:pt x="4538" y="1229"/>
                    <a:pt x="4727" y="1575"/>
                    <a:pt x="4884" y="2111"/>
                  </a:cubicBezTo>
                  <a:lnTo>
                    <a:pt x="4254" y="2111"/>
                  </a:lnTo>
                  <a:lnTo>
                    <a:pt x="4254" y="1040"/>
                  </a:lnTo>
                  <a:close/>
                  <a:moveTo>
                    <a:pt x="5483" y="1323"/>
                  </a:moveTo>
                  <a:lnTo>
                    <a:pt x="5483" y="1323"/>
                  </a:lnTo>
                  <a:cubicBezTo>
                    <a:pt x="5798" y="1512"/>
                    <a:pt x="6081" y="1796"/>
                    <a:pt x="6302" y="2111"/>
                  </a:cubicBezTo>
                  <a:lnTo>
                    <a:pt x="5766" y="2111"/>
                  </a:lnTo>
                  <a:cubicBezTo>
                    <a:pt x="5672" y="1827"/>
                    <a:pt x="5609" y="1544"/>
                    <a:pt x="5483" y="1323"/>
                  </a:cubicBezTo>
                  <a:close/>
                  <a:moveTo>
                    <a:pt x="1765" y="2930"/>
                  </a:moveTo>
                  <a:cubicBezTo>
                    <a:pt x="1734" y="3245"/>
                    <a:pt x="1702" y="3560"/>
                    <a:pt x="1702" y="3875"/>
                  </a:cubicBezTo>
                  <a:cubicBezTo>
                    <a:pt x="1702" y="4190"/>
                    <a:pt x="1734" y="4537"/>
                    <a:pt x="1765" y="4820"/>
                  </a:cubicBezTo>
                  <a:lnTo>
                    <a:pt x="978" y="4820"/>
                  </a:lnTo>
                  <a:cubicBezTo>
                    <a:pt x="883" y="4537"/>
                    <a:pt x="820" y="4222"/>
                    <a:pt x="820" y="3875"/>
                  </a:cubicBezTo>
                  <a:cubicBezTo>
                    <a:pt x="820" y="3497"/>
                    <a:pt x="883" y="3214"/>
                    <a:pt x="978" y="2930"/>
                  </a:cubicBezTo>
                  <a:close/>
                  <a:moveTo>
                    <a:pt x="5136" y="2930"/>
                  </a:moveTo>
                  <a:cubicBezTo>
                    <a:pt x="5168" y="3245"/>
                    <a:pt x="5199" y="3560"/>
                    <a:pt x="5199" y="3875"/>
                  </a:cubicBezTo>
                  <a:cubicBezTo>
                    <a:pt x="5199" y="4222"/>
                    <a:pt x="5168" y="4537"/>
                    <a:pt x="5136" y="4820"/>
                  </a:cubicBezTo>
                  <a:lnTo>
                    <a:pt x="4286" y="4820"/>
                  </a:lnTo>
                  <a:lnTo>
                    <a:pt x="4286" y="2930"/>
                  </a:lnTo>
                  <a:close/>
                  <a:moveTo>
                    <a:pt x="6743" y="2930"/>
                  </a:moveTo>
                  <a:cubicBezTo>
                    <a:pt x="6869" y="3245"/>
                    <a:pt x="6900" y="3560"/>
                    <a:pt x="6900" y="3875"/>
                  </a:cubicBezTo>
                  <a:cubicBezTo>
                    <a:pt x="6900" y="4222"/>
                    <a:pt x="6869" y="4537"/>
                    <a:pt x="6743" y="4820"/>
                  </a:cubicBezTo>
                  <a:lnTo>
                    <a:pt x="5955" y="4820"/>
                  </a:lnTo>
                  <a:cubicBezTo>
                    <a:pt x="5987" y="4505"/>
                    <a:pt x="6018" y="4190"/>
                    <a:pt x="6018" y="3875"/>
                  </a:cubicBezTo>
                  <a:cubicBezTo>
                    <a:pt x="6018" y="3560"/>
                    <a:pt x="5987" y="3214"/>
                    <a:pt x="5955" y="2930"/>
                  </a:cubicBezTo>
                  <a:close/>
                  <a:moveTo>
                    <a:pt x="3466" y="2930"/>
                  </a:moveTo>
                  <a:lnTo>
                    <a:pt x="3466" y="4852"/>
                  </a:lnTo>
                  <a:lnTo>
                    <a:pt x="2647" y="4852"/>
                  </a:lnTo>
                  <a:cubicBezTo>
                    <a:pt x="2553" y="4537"/>
                    <a:pt x="2553" y="4222"/>
                    <a:pt x="2553" y="3875"/>
                  </a:cubicBezTo>
                  <a:cubicBezTo>
                    <a:pt x="2553" y="3497"/>
                    <a:pt x="2616" y="3214"/>
                    <a:pt x="2647" y="2930"/>
                  </a:cubicBezTo>
                  <a:close/>
                  <a:moveTo>
                    <a:pt x="6302" y="5640"/>
                  </a:moveTo>
                  <a:cubicBezTo>
                    <a:pt x="6081" y="5955"/>
                    <a:pt x="5798" y="6238"/>
                    <a:pt x="5483" y="6427"/>
                  </a:cubicBezTo>
                  <a:cubicBezTo>
                    <a:pt x="5609" y="6207"/>
                    <a:pt x="5672" y="5923"/>
                    <a:pt x="5766" y="5640"/>
                  </a:cubicBezTo>
                  <a:close/>
                  <a:moveTo>
                    <a:pt x="1986" y="5671"/>
                  </a:moveTo>
                  <a:cubicBezTo>
                    <a:pt x="2049" y="5955"/>
                    <a:pt x="2143" y="6238"/>
                    <a:pt x="2238" y="6459"/>
                  </a:cubicBezTo>
                  <a:cubicBezTo>
                    <a:pt x="1923" y="6238"/>
                    <a:pt x="1671" y="5955"/>
                    <a:pt x="1419" y="5671"/>
                  </a:cubicBezTo>
                  <a:close/>
                  <a:moveTo>
                    <a:pt x="4916" y="5640"/>
                  </a:moveTo>
                  <a:cubicBezTo>
                    <a:pt x="4727" y="6144"/>
                    <a:pt x="4538" y="6522"/>
                    <a:pt x="4286" y="6711"/>
                  </a:cubicBezTo>
                  <a:lnTo>
                    <a:pt x="4286" y="5640"/>
                  </a:lnTo>
                  <a:close/>
                  <a:moveTo>
                    <a:pt x="3466" y="5671"/>
                  </a:moveTo>
                  <a:lnTo>
                    <a:pt x="3466" y="6742"/>
                  </a:lnTo>
                  <a:cubicBezTo>
                    <a:pt x="3246" y="6553"/>
                    <a:pt x="2994" y="6144"/>
                    <a:pt x="2836" y="5671"/>
                  </a:cubicBezTo>
                  <a:close/>
                  <a:moveTo>
                    <a:pt x="3876" y="0"/>
                  </a:moveTo>
                  <a:cubicBezTo>
                    <a:pt x="2301" y="0"/>
                    <a:pt x="915" y="945"/>
                    <a:pt x="316" y="2332"/>
                  </a:cubicBezTo>
                  <a:cubicBezTo>
                    <a:pt x="127" y="2804"/>
                    <a:pt x="1" y="3308"/>
                    <a:pt x="1" y="3875"/>
                  </a:cubicBezTo>
                  <a:cubicBezTo>
                    <a:pt x="1" y="4411"/>
                    <a:pt x="127" y="4946"/>
                    <a:pt x="316" y="5419"/>
                  </a:cubicBezTo>
                  <a:cubicBezTo>
                    <a:pt x="915" y="6774"/>
                    <a:pt x="2301" y="7719"/>
                    <a:pt x="3876" y="7719"/>
                  </a:cubicBezTo>
                  <a:cubicBezTo>
                    <a:pt x="5451" y="7719"/>
                    <a:pt x="6806" y="6774"/>
                    <a:pt x="7405" y="5419"/>
                  </a:cubicBezTo>
                  <a:cubicBezTo>
                    <a:pt x="7594" y="4946"/>
                    <a:pt x="7720" y="4411"/>
                    <a:pt x="7720" y="3875"/>
                  </a:cubicBezTo>
                  <a:cubicBezTo>
                    <a:pt x="7720" y="3308"/>
                    <a:pt x="7594" y="2804"/>
                    <a:pt x="7405" y="2332"/>
                  </a:cubicBezTo>
                  <a:cubicBezTo>
                    <a:pt x="6806" y="945"/>
                    <a:pt x="5451" y="0"/>
                    <a:pt x="3876" y="0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</p:grpSp>
      <p:cxnSp>
        <p:nvCxnSpPr>
          <p:cNvPr id="104" name="Прямая со стрелкой 103">
            <a:extLst>
              <a:ext uri="{FF2B5EF4-FFF2-40B4-BE49-F238E27FC236}">
                <a16:creationId xmlns:a16="http://schemas.microsoft.com/office/drawing/2014/main" xmlns="" id="{79C21118-1989-4D91-B408-E327258087D9}"/>
              </a:ext>
            </a:extLst>
          </p:cNvPr>
          <p:cNvCxnSpPr>
            <a:cxnSpLocks/>
            <a:stCxn id="96" idx="1"/>
            <a:endCxn id="105" idx="6"/>
          </p:cNvCxnSpPr>
          <p:nvPr/>
        </p:nvCxnSpPr>
        <p:spPr>
          <a:xfrm flipH="1" flipV="1">
            <a:off x="3580086" y="2419947"/>
            <a:ext cx="357632" cy="456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Овал 104">
            <a:extLst>
              <a:ext uri="{FF2B5EF4-FFF2-40B4-BE49-F238E27FC236}">
                <a16:creationId xmlns:a16="http://schemas.microsoft.com/office/drawing/2014/main" xmlns="" id="{70C8C943-3FCD-43EE-B0D3-8CE1B1EBB8E1}"/>
              </a:ext>
            </a:extLst>
          </p:cNvPr>
          <p:cNvSpPr/>
          <p:nvPr/>
        </p:nvSpPr>
        <p:spPr>
          <a:xfrm>
            <a:off x="3428488" y="2344147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12AC48BE-1ADA-46BD-944D-50C5FF060D37}"/>
              </a:ext>
            </a:extLst>
          </p:cNvPr>
          <p:cNvSpPr txBox="1"/>
          <p:nvPr/>
        </p:nvSpPr>
        <p:spPr>
          <a:xfrm>
            <a:off x="3977142" y="2943772"/>
            <a:ext cx="1537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 smtClean="0"/>
              <a:t>Отбасын</a:t>
            </a:r>
            <a:r>
              <a:rPr lang="ru-RU" sz="1200" dirty="0" smtClean="0"/>
              <a:t> </a:t>
            </a:r>
            <a:r>
              <a:rPr lang="ru-RU" sz="1200" dirty="0" err="1" smtClean="0"/>
              <a:t>бағалау</a:t>
            </a:r>
            <a:r>
              <a:rPr lang="ru-RU" sz="1200" dirty="0" smtClean="0"/>
              <a:t> </a:t>
            </a:r>
            <a:r>
              <a:rPr lang="ru-RU" sz="1200" dirty="0" err="1" smtClean="0"/>
              <a:t>алгоритмі</a:t>
            </a:r>
            <a:endParaRPr lang="ru-RU" sz="1200" dirty="0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A06DFE4A-7C46-413F-9DE2-77A55D0D026C}"/>
              </a:ext>
            </a:extLst>
          </p:cNvPr>
          <p:cNvSpPr txBox="1"/>
          <p:nvPr/>
        </p:nvSpPr>
        <p:spPr>
          <a:xfrm>
            <a:off x="2601996" y="2762793"/>
            <a:ext cx="11665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smtClean="0"/>
              <a:t>Отбасыны </a:t>
            </a:r>
            <a:r>
              <a:rPr lang="ru-RU" sz="1050" dirty="0" err="1" smtClean="0"/>
              <a:t>бағалау</a:t>
            </a:r>
            <a:r>
              <a:rPr lang="ru-RU" sz="1050" dirty="0" smtClean="0"/>
              <a:t> </a:t>
            </a:r>
            <a:r>
              <a:rPr lang="ru-RU" sz="1050" dirty="0" err="1" smtClean="0"/>
              <a:t>үшін</a:t>
            </a:r>
            <a:r>
              <a:rPr lang="ru-RU" sz="1050" dirty="0" smtClean="0"/>
              <a:t> </a:t>
            </a:r>
            <a:r>
              <a:rPr lang="ru-RU" sz="1050" dirty="0" err="1" smtClean="0"/>
              <a:t>деректердің</a:t>
            </a:r>
            <a:r>
              <a:rPr lang="ru-RU" sz="1050" dirty="0" smtClean="0"/>
              <a:t> </a:t>
            </a:r>
            <a:r>
              <a:rPr lang="ru-RU" sz="1050" dirty="0" err="1" smtClean="0"/>
              <a:t>тіркелімі</a:t>
            </a:r>
            <a:endParaRPr lang="ru-RU" sz="105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C60F1FD3-9F37-4264-B68B-9C24497F1194}"/>
              </a:ext>
            </a:extLst>
          </p:cNvPr>
          <p:cNvSpPr txBox="1"/>
          <p:nvPr/>
        </p:nvSpPr>
        <p:spPr>
          <a:xfrm>
            <a:off x="373792" y="1470804"/>
            <a:ext cx="116654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/>
              <a:t>ЖТ </a:t>
            </a:r>
            <a:r>
              <a:rPr lang="ru-RU" sz="1050" dirty="0" err="1" smtClean="0"/>
              <a:t>бойынша</a:t>
            </a:r>
            <a:r>
              <a:rPr lang="ru-RU" sz="1050" dirty="0" smtClean="0"/>
              <a:t> </a:t>
            </a:r>
            <a:r>
              <a:rPr lang="ru-RU" sz="1050" dirty="0" err="1" smtClean="0"/>
              <a:t>жедел</a:t>
            </a:r>
            <a:r>
              <a:rPr lang="ru-RU" sz="1050" dirty="0" smtClean="0"/>
              <a:t> </a:t>
            </a:r>
            <a:r>
              <a:rPr lang="ru-RU" sz="1050" dirty="0" err="1" smtClean="0"/>
              <a:t>деректер</a:t>
            </a:r>
            <a:endParaRPr lang="ru-RU" sz="1050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85427E35-228A-4E2E-AC98-E1CB6496E710}"/>
              </a:ext>
            </a:extLst>
          </p:cNvPr>
          <p:cNvSpPr txBox="1"/>
          <p:nvPr/>
        </p:nvSpPr>
        <p:spPr>
          <a:xfrm>
            <a:off x="378777" y="2218285"/>
            <a:ext cx="116654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/>
              <a:t>ЖТ </a:t>
            </a:r>
            <a:r>
              <a:rPr lang="ru-RU" sz="1050" dirty="0" err="1" smtClean="0"/>
              <a:t>бойынша</a:t>
            </a:r>
            <a:r>
              <a:rPr lang="ru-RU" sz="1050" dirty="0" smtClean="0"/>
              <a:t> </a:t>
            </a:r>
            <a:r>
              <a:rPr lang="ru-RU" sz="1050" dirty="0" err="1" smtClean="0"/>
              <a:t>есептелетін</a:t>
            </a:r>
            <a:r>
              <a:rPr lang="ru-RU" sz="1050" dirty="0" smtClean="0"/>
              <a:t> </a:t>
            </a:r>
            <a:r>
              <a:rPr lang="ru-RU" sz="1050" dirty="0" err="1" smtClean="0"/>
              <a:t>деректер</a:t>
            </a:r>
            <a:endParaRPr lang="ru-RU" sz="1050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xmlns="" id="{EFAFA166-FEEA-4011-BB6B-86597D2F3564}"/>
              </a:ext>
            </a:extLst>
          </p:cNvPr>
          <p:cNvSpPr txBox="1"/>
          <p:nvPr/>
        </p:nvSpPr>
        <p:spPr>
          <a:xfrm>
            <a:off x="387026" y="2939973"/>
            <a:ext cx="116654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/>
              <a:t>ЖТ </a:t>
            </a:r>
            <a:r>
              <a:rPr lang="ru-RU" sz="1050" dirty="0" err="1" smtClean="0"/>
              <a:t>бойынша</a:t>
            </a:r>
            <a:r>
              <a:rPr lang="ru-RU" sz="1050" dirty="0" smtClean="0"/>
              <a:t> </a:t>
            </a:r>
            <a:r>
              <a:rPr lang="ru-RU" sz="1050" dirty="0" err="1" smtClean="0"/>
              <a:t>эталондық</a:t>
            </a:r>
            <a:r>
              <a:rPr lang="ru-RU" sz="1050" dirty="0" smtClean="0"/>
              <a:t> </a:t>
            </a:r>
            <a:r>
              <a:rPr lang="ru-RU" sz="1050" dirty="0" err="1" smtClean="0"/>
              <a:t>деректер</a:t>
            </a:r>
            <a:endParaRPr lang="ru-RU" sz="1050" dirty="0"/>
          </a:p>
        </p:txBody>
      </p:sp>
      <p:sp>
        <p:nvSpPr>
          <p:cNvPr id="111" name="Стрелка: вправо 110">
            <a:extLst>
              <a:ext uri="{FF2B5EF4-FFF2-40B4-BE49-F238E27FC236}">
                <a16:creationId xmlns:a16="http://schemas.microsoft.com/office/drawing/2014/main" xmlns="" id="{270F3311-A3DC-487E-BC79-72928375A6B1}"/>
              </a:ext>
            </a:extLst>
          </p:cNvPr>
          <p:cNvSpPr/>
          <p:nvPr/>
        </p:nvSpPr>
        <p:spPr>
          <a:xfrm>
            <a:off x="5532350" y="2161443"/>
            <a:ext cx="379851" cy="461665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>
            <a:extLst>
              <a:ext uri="{FF2B5EF4-FFF2-40B4-BE49-F238E27FC236}">
                <a16:creationId xmlns:a16="http://schemas.microsoft.com/office/drawing/2014/main" xmlns="" id="{5893477C-8806-49E3-BF06-39BBE2F4446C}"/>
              </a:ext>
            </a:extLst>
          </p:cNvPr>
          <p:cNvSpPr/>
          <p:nvPr/>
        </p:nvSpPr>
        <p:spPr>
          <a:xfrm>
            <a:off x="6162292" y="1437317"/>
            <a:ext cx="558368" cy="556763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pic>
        <p:nvPicPr>
          <p:cNvPr id="113" name="Рисунок 112">
            <a:extLst>
              <a:ext uri="{FF2B5EF4-FFF2-40B4-BE49-F238E27FC236}">
                <a16:creationId xmlns:a16="http://schemas.microsoft.com/office/drawing/2014/main" xmlns="" id="{366E9FDF-8EC0-473E-9B04-AC718B41AA8D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82292" y="1565575"/>
            <a:ext cx="329730" cy="276356"/>
          </a:xfrm>
          <a:prstGeom prst="rect">
            <a:avLst/>
          </a:prstGeom>
        </p:spPr>
      </p:pic>
      <p:sp>
        <p:nvSpPr>
          <p:cNvPr id="114" name="Овал 113">
            <a:extLst>
              <a:ext uri="{FF2B5EF4-FFF2-40B4-BE49-F238E27FC236}">
                <a16:creationId xmlns:a16="http://schemas.microsoft.com/office/drawing/2014/main" xmlns="" id="{BDCD5FF9-6F76-4556-BCA4-4794D69FB77E}"/>
              </a:ext>
            </a:extLst>
          </p:cNvPr>
          <p:cNvSpPr/>
          <p:nvPr/>
        </p:nvSpPr>
        <p:spPr>
          <a:xfrm>
            <a:off x="6162292" y="2122713"/>
            <a:ext cx="558368" cy="52419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C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sp>
        <p:nvSpPr>
          <p:cNvPr id="115" name="Овал 114">
            <a:extLst>
              <a:ext uri="{FF2B5EF4-FFF2-40B4-BE49-F238E27FC236}">
                <a16:creationId xmlns:a16="http://schemas.microsoft.com/office/drawing/2014/main" xmlns="" id="{EB77E157-A605-469C-8545-BE90A0D19E02}"/>
              </a:ext>
            </a:extLst>
          </p:cNvPr>
          <p:cNvSpPr/>
          <p:nvPr/>
        </p:nvSpPr>
        <p:spPr>
          <a:xfrm>
            <a:off x="6151640" y="2799052"/>
            <a:ext cx="558368" cy="52419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xmlns="" id="{FA7DE647-4AD8-417F-93B7-726DCE87B214}"/>
              </a:ext>
            </a:extLst>
          </p:cNvPr>
          <p:cNvSpPr txBox="1"/>
          <p:nvPr/>
        </p:nvSpPr>
        <p:spPr>
          <a:xfrm>
            <a:off x="5940428" y="919658"/>
            <a:ext cx="9874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err="1" smtClean="0"/>
              <a:t>Бағалау</a:t>
            </a:r>
            <a:r>
              <a:rPr lang="ru-RU" sz="1050" b="1" dirty="0" smtClean="0"/>
              <a:t> </a:t>
            </a:r>
            <a:r>
              <a:rPr lang="ru-RU" sz="1050" b="1" dirty="0" err="1" smtClean="0"/>
              <a:t>нәтижелері</a:t>
            </a:r>
            <a:endParaRPr lang="ru-RU" sz="1050" b="1" dirty="0"/>
          </a:p>
        </p:txBody>
      </p:sp>
      <p:sp>
        <p:nvSpPr>
          <p:cNvPr id="117" name="Прямоугольник: скругленные углы 116">
            <a:extLst>
              <a:ext uri="{FF2B5EF4-FFF2-40B4-BE49-F238E27FC236}">
                <a16:creationId xmlns:a16="http://schemas.microsoft.com/office/drawing/2014/main" xmlns="" id="{666FDAC5-30DD-4A77-B228-DCB1B6449EB6}"/>
              </a:ext>
            </a:extLst>
          </p:cNvPr>
          <p:cNvSpPr/>
          <p:nvPr/>
        </p:nvSpPr>
        <p:spPr>
          <a:xfrm>
            <a:off x="7264635" y="1366081"/>
            <a:ext cx="1535120" cy="2112293"/>
          </a:xfrm>
          <a:prstGeom prst="roundRect">
            <a:avLst/>
          </a:prstGeom>
          <a:solidFill>
            <a:srgbClr val="4491B8">
              <a:alpha val="63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1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</a:rPr>
              <a:t>.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Мемлекеттік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қолдаудың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проактивті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форматтағы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шаралары</a:t>
            </a:r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2.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Қажеттіліктің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болжамы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және</a:t>
            </a: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 оны </a:t>
            </a:r>
            <a:r>
              <a:rPr lang="ru-RU" b="1" dirty="0" err="1" smtClean="0">
                <a:solidFill>
                  <a:schemeClr val="bg2">
                    <a:lumMod val="25000"/>
                  </a:schemeClr>
                </a:solidFill>
              </a:rPr>
              <a:t>талдау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xmlns="" id="{085220F2-BCAD-4446-9FF4-AD0CAD8BC5E2}"/>
              </a:ext>
            </a:extLst>
          </p:cNvPr>
          <p:cNvSpPr txBox="1"/>
          <p:nvPr/>
        </p:nvSpPr>
        <p:spPr>
          <a:xfrm>
            <a:off x="7339249" y="1014505"/>
            <a:ext cx="14005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 smtClean="0"/>
              <a:t>Мемлекет</a:t>
            </a:r>
            <a:r>
              <a:rPr lang="ru-RU" b="1" dirty="0" smtClean="0"/>
              <a:t> </a:t>
            </a:r>
            <a:endParaRPr lang="ru-RU" sz="1200" b="1" dirty="0"/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xmlns="" id="{F5C66BF3-A393-464E-AF1F-D622765DDA8D}"/>
              </a:ext>
            </a:extLst>
          </p:cNvPr>
          <p:cNvGrpSpPr/>
          <p:nvPr/>
        </p:nvGrpSpPr>
        <p:grpSpPr>
          <a:xfrm rot="10800000">
            <a:off x="6963164" y="1836045"/>
            <a:ext cx="171251" cy="1016205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120" name="Шеврон 20">
              <a:extLst>
                <a:ext uri="{FF2B5EF4-FFF2-40B4-BE49-F238E27FC236}">
                  <a16:creationId xmlns:a16="http://schemas.microsoft.com/office/drawing/2014/main" xmlns="" id="{7B33B880-2637-4914-A4ED-3F0D96434733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21" name="Шеврон 71">
              <a:extLst>
                <a:ext uri="{FF2B5EF4-FFF2-40B4-BE49-F238E27FC236}">
                  <a16:creationId xmlns:a16="http://schemas.microsoft.com/office/drawing/2014/main" xmlns="" id="{49E44FA7-1ED7-465B-80E1-15619F1EAE27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2D1B67C9-ADC2-4E08-919F-11CDDF612004}"/>
              </a:ext>
            </a:extLst>
          </p:cNvPr>
          <p:cNvSpPr txBox="1"/>
          <p:nvPr/>
        </p:nvSpPr>
        <p:spPr>
          <a:xfrm>
            <a:off x="511034" y="3640003"/>
            <a:ext cx="6495735" cy="1310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ru-RU" sz="1400" b="1" dirty="0" smtClean="0">
                <a:solidFill>
                  <a:srgbClr val="008000"/>
                </a:solidFill>
              </a:rPr>
              <a:t>КҮТІЛЕТІН НӘТИЖЕ:</a:t>
            </a:r>
            <a:endParaRPr lang="ru-RU" sz="1400" b="1" dirty="0">
              <a:solidFill>
                <a:srgbClr val="008000"/>
              </a:solidFill>
            </a:endParaRP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 err="1" smtClean="0"/>
              <a:t>Қызмет</a:t>
            </a:r>
            <a:r>
              <a:rPr lang="ru-RU" sz="1400" dirty="0" smtClean="0"/>
              <a:t> </a:t>
            </a:r>
            <a:r>
              <a:rPr lang="ru-RU" sz="1400" dirty="0" err="1" smtClean="0"/>
              <a:t>алушының</a:t>
            </a:r>
            <a:r>
              <a:rPr lang="ru-RU" sz="1400" dirty="0" smtClean="0"/>
              <a:t> </a:t>
            </a:r>
            <a:r>
              <a:rPr lang="ru-RU" sz="1400" dirty="0" err="1" smtClean="0"/>
              <a:t>объективті</a:t>
            </a:r>
            <a:r>
              <a:rPr lang="ru-RU" sz="1400" dirty="0" smtClean="0"/>
              <a:t> </a:t>
            </a:r>
            <a:r>
              <a:rPr lang="ru-RU" sz="1400" dirty="0" err="1" smtClean="0"/>
              <a:t>портреті</a:t>
            </a:r>
            <a:r>
              <a:rPr lang="ru-RU" sz="1400" dirty="0" smtClean="0"/>
              <a:t> 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 err="1" smtClean="0"/>
              <a:t>Қызметтер</a:t>
            </a:r>
            <a:r>
              <a:rPr lang="ru-RU" sz="1400" dirty="0" smtClean="0"/>
              <a:t> </a:t>
            </a:r>
            <a:r>
              <a:rPr lang="ru-RU" sz="1400" dirty="0" err="1" smtClean="0"/>
              <a:t>көрсетудің</a:t>
            </a:r>
            <a:r>
              <a:rPr lang="ru-RU" sz="1400" dirty="0" smtClean="0"/>
              <a:t> </a:t>
            </a:r>
            <a:r>
              <a:rPr lang="ru-RU" sz="1400" dirty="0" err="1" smtClean="0"/>
              <a:t>проактивті</a:t>
            </a:r>
            <a:r>
              <a:rPr lang="ru-RU" sz="1400" dirty="0" smtClean="0"/>
              <a:t> форматы 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 err="1" smtClean="0"/>
              <a:t>Мемлекеттік</a:t>
            </a:r>
            <a:r>
              <a:rPr lang="ru-RU" sz="1400" dirty="0" smtClean="0"/>
              <a:t> </a:t>
            </a:r>
            <a:r>
              <a:rPr lang="ru-RU" sz="1400" dirty="0" err="1" smtClean="0"/>
              <a:t>қолдаудың</a:t>
            </a:r>
            <a:r>
              <a:rPr lang="ru-RU" sz="1400" dirty="0" smtClean="0"/>
              <a:t> </a:t>
            </a:r>
            <a:r>
              <a:rPr lang="ru-RU" sz="1400" dirty="0" err="1" smtClean="0"/>
              <a:t>кешенді</a:t>
            </a:r>
            <a:r>
              <a:rPr lang="ru-RU" sz="1400" dirty="0" smtClean="0"/>
              <a:t> </a:t>
            </a:r>
            <a:r>
              <a:rPr lang="ru-RU" sz="1400" dirty="0" err="1" smtClean="0"/>
              <a:t>шаралары</a:t>
            </a:r>
            <a:r>
              <a:rPr lang="ru-RU" sz="1400" dirty="0" smtClean="0"/>
              <a:t> 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 err="1" smtClean="0"/>
              <a:t>Мемлекеттік</a:t>
            </a:r>
            <a:r>
              <a:rPr lang="ru-RU" sz="1400" dirty="0" smtClean="0"/>
              <a:t> </a:t>
            </a:r>
            <a:r>
              <a:rPr lang="ru-RU" sz="1400" dirty="0" err="1" smtClean="0"/>
              <a:t>қолдау</a:t>
            </a:r>
            <a:r>
              <a:rPr lang="ru-RU" sz="1400" dirty="0" smtClean="0"/>
              <a:t> </a:t>
            </a:r>
            <a:r>
              <a:rPr lang="ru-RU" sz="1400" dirty="0" err="1" smtClean="0"/>
              <a:t>шараларына</a:t>
            </a:r>
            <a:r>
              <a:rPr lang="ru-RU" sz="1400" dirty="0" smtClean="0"/>
              <a:t> </a:t>
            </a:r>
            <a:r>
              <a:rPr lang="ru-RU" sz="1400" dirty="0" err="1" smtClean="0"/>
              <a:t>қажеттілікті</a:t>
            </a:r>
            <a:r>
              <a:rPr lang="ru-RU" sz="1400" dirty="0" smtClean="0"/>
              <a:t> </a:t>
            </a:r>
            <a:r>
              <a:rPr lang="ru-RU" sz="1400" dirty="0" err="1" smtClean="0"/>
              <a:t>автоматты</a:t>
            </a:r>
            <a:r>
              <a:rPr lang="ru-RU" sz="1400" dirty="0" smtClean="0"/>
              <a:t> </a:t>
            </a:r>
            <a:r>
              <a:rPr lang="ru-RU" sz="1400" dirty="0" err="1" smtClean="0"/>
              <a:t>түрде</a:t>
            </a:r>
            <a:r>
              <a:rPr lang="ru-RU" sz="1400" dirty="0" smtClean="0"/>
              <a:t> </a:t>
            </a:r>
            <a:r>
              <a:rPr lang="ru-RU" sz="1400" dirty="0" err="1" smtClean="0"/>
              <a:t>анықтау</a:t>
            </a:r>
            <a:endParaRPr lang="ru-RU" sz="1400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0AF8B098-3E45-47D4-86DD-EC098DDF5EFA}"/>
              </a:ext>
            </a:extLst>
          </p:cNvPr>
          <p:cNvSpPr txBox="1"/>
          <p:nvPr/>
        </p:nvSpPr>
        <p:spPr>
          <a:xfrm>
            <a:off x="511033" y="703329"/>
            <a:ext cx="1928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b="1" dirty="0" smtClean="0">
                <a:solidFill>
                  <a:srgbClr val="FF0000"/>
                </a:solidFill>
                <a:latin typeface="Arsenal" panose="020B0604020202020204" charset="-52"/>
                <a:cs typeface="Arial" panose="020B0604020202020204" pitchFamily="34" charset="0"/>
              </a:rPr>
              <a:t>өтінімдік</a:t>
            </a:r>
            <a:endParaRPr lang="kk-KZ" sz="1200" b="1" dirty="0">
              <a:solidFill>
                <a:srgbClr val="FF0000"/>
              </a:solidFill>
              <a:latin typeface="Arsenal" panose="020B0604020202020204" charset="-52"/>
              <a:cs typeface="Arial" panose="020B0604020202020204" pitchFamily="34" charset="0"/>
            </a:endParaRPr>
          </a:p>
          <a:p>
            <a:pPr algn="ctr"/>
            <a:r>
              <a:rPr lang="ru-RU" sz="600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(</a:t>
            </a:r>
            <a:r>
              <a:rPr lang="ru-RU" sz="600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әлеуметтік</a:t>
            </a:r>
            <a:r>
              <a:rPr lang="ru-RU" sz="600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 </a:t>
            </a:r>
            <a:r>
              <a:rPr lang="ru-RU" sz="600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қызметтердің</a:t>
            </a:r>
            <a:r>
              <a:rPr lang="ru-RU" sz="600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 </a:t>
            </a:r>
            <a:r>
              <a:rPr lang="ru-RU" sz="600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фрагментарлығы</a:t>
            </a:r>
            <a:r>
              <a:rPr lang="ru-RU" sz="600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)</a:t>
            </a:r>
            <a:endParaRPr lang="en-US" sz="600" dirty="0">
              <a:solidFill>
                <a:prstClr val="black"/>
              </a:solidFill>
              <a:latin typeface="Arsenal" panose="020B0604020202020204" charset="-52"/>
              <a:cs typeface="Arial" panose="020B0604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2C405A4A-E6F0-43CB-A76F-687148872E8F}"/>
              </a:ext>
            </a:extLst>
          </p:cNvPr>
          <p:cNvSpPr txBox="1"/>
          <p:nvPr/>
        </p:nvSpPr>
        <p:spPr>
          <a:xfrm>
            <a:off x="2881775" y="720549"/>
            <a:ext cx="2952064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srgbClr val="00B050"/>
                </a:solidFill>
                <a:latin typeface="Arsenal" panose="020B0604020202020204" charset="-52"/>
                <a:cs typeface="Arial" panose="020B0604020202020204" pitchFamily="34" charset="0"/>
              </a:rPr>
              <a:t>АНЫҚТАУ</a:t>
            </a:r>
            <a:endParaRPr lang="kk-KZ" sz="1200" b="1" dirty="0">
              <a:solidFill>
                <a:srgbClr val="00B050"/>
              </a:solidFill>
              <a:latin typeface="Arsenal" panose="020B0604020202020204" charset="-52"/>
              <a:cs typeface="Arial" panose="020B0604020202020204" pitchFamily="34" charset="0"/>
            </a:endParaRPr>
          </a:p>
          <a:p>
            <a:pPr algn="ctr"/>
            <a:r>
              <a:rPr lang="kk-KZ" sz="825" dirty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(</a:t>
            </a:r>
            <a:r>
              <a:rPr lang="ru-RU" sz="825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мониторинг </a:t>
            </a:r>
            <a:r>
              <a:rPr lang="ru-RU" sz="825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және</a:t>
            </a:r>
            <a:r>
              <a:rPr lang="ru-RU" sz="825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 </a:t>
            </a:r>
            <a:r>
              <a:rPr lang="ru-RU" sz="825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отбасыны</a:t>
            </a:r>
            <a:r>
              <a:rPr lang="ru-RU" sz="825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 </a:t>
            </a:r>
            <a:r>
              <a:rPr lang="ru-RU" sz="825" dirty="0" err="1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сүйемелдеу</a:t>
            </a:r>
            <a:r>
              <a:rPr lang="ru-RU" sz="825" dirty="0" smtClean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)</a:t>
            </a:r>
            <a:endParaRPr lang="ru-RU" sz="825" dirty="0">
              <a:solidFill>
                <a:prstClr val="black"/>
              </a:solidFill>
              <a:latin typeface="Arsenal" panose="020B0604020202020204" charset="-52"/>
              <a:cs typeface="Arial" panose="020B0604020202020204" pitchFamily="34" charset="0"/>
            </a:endParaRPr>
          </a:p>
        </p:txBody>
      </p:sp>
      <p:sp>
        <p:nvSpPr>
          <p:cNvPr id="125" name="Стрелка: вправо 124">
            <a:extLst>
              <a:ext uri="{FF2B5EF4-FFF2-40B4-BE49-F238E27FC236}">
                <a16:creationId xmlns:a16="http://schemas.microsoft.com/office/drawing/2014/main" xmlns="" id="{2F971DAB-C4E9-4F1E-90FB-6B807341ED79}"/>
              </a:ext>
            </a:extLst>
          </p:cNvPr>
          <p:cNvSpPr/>
          <p:nvPr/>
        </p:nvSpPr>
        <p:spPr>
          <a:xfrm>
            <a:off x="2568109" y="760427"/>
            <a:ext cx="538985" cy="27699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xmlns="" id="{C569C620-238C-44E5-A610-A1DBB119BAC5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91176" y="2236823"/>
            <a:ext cx="329730" cy="276356"/>
          </a:xfrm>
          <a:prstGeom prst="rect">
            <a:avLst/>
          </a:prstGeom>
        </p:spPr>
      </p:pic>
      <p:pic>
        <p:nvPicPr>
          <p:cNvPr id="127" name="Рисунок 126">
            <a:extLst>
              <a:ext uri="{FF2B5EF4-FFF2-40B4-BE49-F238E27FC236}">
                <a16:creationId xmlns:a16="http://schemas.microsoft.com/office/drawing/2014/main" xmlns="" id="{FFC2E661-5F6A-4B8D-9F2C-F6B6FA0621A5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82292" y="2907949"/>
            <a:ext cx="329730" cy="276356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C699E826-2810-4636-9CA2-5B1022B16F15}"/>
              </a:ext>
            </a:extLst>
          </p:cNvPr>
          <p:cNvSpPr txBox="1"/>
          <p:nvPr/>
        </p:nvSpPr>
        <p:spPr>
          <a:xfrm>
            <a:off x="0" y="71755"/>
            <a:ext cx="91439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  <a:sym typeface="Trebuchet MS"/>
              </a:rPr>
              <a:t>ОТБАСЫНЫҢ ЦИФРЛЫҚ КАРТАСЫ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  <a:sym typeface="Trebuchet MS"/>
            </a:endParaRPr>
          </a:p>
        </p:txBody>
      </p:sp>
      <p:cxnSp>
        <p:nvCxnSpPr>
          <p:cNvPr id="129" name="Google Shape;175;p16">
            <a:extLst>
              <a:ext uri="{FF2B5EF4-FFF2-40B4-BE49-F238E27FC236}">
                <a16:creationId xmlns:a16="http://schemas.microsoft.com/office/drawing/2014/main" xmlns="" id="{5456D1C2-83CD-4C32-9358-8397AD5C5A2A}"/>
              </a:ext>
            </a:extLst>
          </p:cNvPr>
          <p:cNvCxnSpPr/>
          <p:nvPr/>
        </p:nvCxnSpPr>
        <p:spPr>
          <a:xfrm>
            <a:off x="316800" y="467112"/>
            <a:ext cx="8640000" cy="0"/>
          </a:xfrm>
          <a:prstGeom prst="straightConnector1">
            <a:avLst/>
          </a:prstGeom>
          <a:noFill/>
          <a:ln w="9525" cap="flat" cmpd="sng">
            <a:solidFill>
              <a:srgbClr val="1F4E79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2164682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32C86298-C7D5-4C52-B7E8-A3D0299281C2}"/>
              </a:ext>
            </a:extLst>
          </p:cNvPr>
          <p:cNvGrpSpPr/>
          <p:nvPr/>
        </p:nvGrpSpPr>
        <p:grpSpPr>
          <a:xfrm>
            <a:off x="371385" y="1250929"/>
            <a:ext cx="1880559" cy="1466490"/>
            <a:chOff x="1240019" y="2632105"/>
            <a:chExt cx="1929508" cy="1466490"/>
          </a:xfrm>
        </p:grpSpPr>
        <p:sp>
          <p:nvSpPr>
            <p:cNvPr id="55" name="Скругленный прямоугольник 54"/>
            <p:cNvSpPr/>
            <p:nvPr/>
          </p:nvSpPr>
          <p:spPr>
            <a:xfrm>
              <a:off x="1240019" y="2632105"/>
              <a:ext cx="1929508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1" name="Рисунок 70"/>
            <p:cNvPicPr>
              <a:picLocks noChangeAspect="1"/>
            </p:cNvPicPr>
            <p:nvPr/>
          </p:nvPicPr>
          <p:blipFill>
            <a:blip r:embed="rId6"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462919" y="2918535"/>
              <a:ext cx="570299" cy="371494"/>
            </a:xfrm>
            <a:prstGeom prst="rect">
              <a:avLst/>
            </a:prstGeom>
          </p:spPr>
        </p:pic>
        <p:pic>
          <p:nvPicPr>
            <p:cNvPr id="72" name="Picture 9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5B9BD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57"/>
            <a:stretch/>
          </p:blipFill>
          <p:spPr bwMode="auto">
            <a:xfrm>
              <a:off x="2262611" y="2768482"/>
              <a:ext cx="612876" cy="6355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7" name="Picture 7"/>
            <p:cNvPicPr>
              <a:picLocks noChangeAspect="1" noChangeArrowheads="1"/>
            </p:cNvPicPr>
            <p:nvPr/>
          </p:nvPicPr>
          <p:blipFill>
            <a:blip r:embed="rId8">
              <a:duotone>
                <a:prstClr val="black"/>
                <a:srgbClr val="5B9BD5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6082" y="3459822"/>
              <a:ext cx="777108" cy="5188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/>
          </p:nvPicPr>
          <p:blipFill>
            <a:blip r:embed="rId10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1064" y="3411927"/>
              <a:ext cx="722188" cy="6581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әсілдер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4.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емлекеттік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қызметтердің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рансформациясы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мен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реинжинирингі</a:t>
            </a:r>
            <a:endParaRPr lang="ru-RU" sz="18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4A15069C-484B-461C-98DC-8C2CC690BC37}"/>
              </a:ext>
            </a:extLst>
          </p:cNvPr>
          <p:cNvGrpSpPr/>
          <p:nvPr/>
        </p:nvGrpSpPr>
        <p:grpSpPr>
          <a:xfrm>
            <a:off x="3162188" y="3089499"/>
            <a:ext cx="1970952" cy="1592722"/>
            <a:chOff x="208514" y="1024717"/>
            <a:chExt cx="1965281" cy="1592721"/>
          </a:xfrm>
        </p:grpSpPr>
        <p:grpSp>
          <p:nvGrpSpPr>
            <p:cNvPr id="39" name="Группа 14"/>
            <p:cNvGrpSpPr/>
            <p:nvPr/>
          </p:nvGrpSpPr>
          <p:grpSpPr>
            <a:xfrm>
              <a:off x="899450" y="1105671"/>
              <a:ext cx="623787" cy="478254"/>
              <a:chOff x="373187" y="2498793"/>
              <a:chExt cx="1218904" cy="1089712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62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63" name="TextBox 51"/>
              <p:cNvSpPr txBox="1">
                <a:spLocks noChangeArrowheads="1"/>
              </p:cNvSpPr>
              <p:nvPr/>
            </p:nvSpPr>
            <p:spPr bwMode="auto">
              <a:xfrm>
                <a:off x="373187" y="2929306"/>
                <a:ext cx="1202548" cy="65919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«МО» АЖ</a:t>
                </a:r>
                <a:endParaRPr lang="kk-KZ" altLang="ru-RU" sz="8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" name="Группа 20"/>
            <p:cNvGrpSpPr/>
            <p:nvPr/>
          </p:nvGrpSpPr>
          <p:grpSpPr>
            <a:xfrm>
              <a:off x="208514" y="1564302"/>
              <a:ext cx="615417" cy="541853"/>
              <a:chOff x="4930961" y="1293580"/>
              <a:chExt cx="1202548" cy="1234624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60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5143954" y="1293580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61" name="TextBox 51"/>
              <p:cNvSpPr txBox="1">
                <a:spLocks noChangeArrowheads="1"/>
              </p:cNvSpPr>
              <p:nvPr/>
            </p:nvSpPr>
            <p:spPr bwMode="auto">
              <a:xfrm>
                <a:off x="4930961" y="1869005"/>
                <a:ext cx="1202548" cy="65919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«МО» АЖ</a:t>
                </a:r>
              </a:p>
            </p:txBody>
          </p:sp>
        </p:grpSp>
        <p:pic>
          <p:nvPicPr>
            <p:cNvPr id="41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8601" y="1564302"/>
              <a:ext cx="595462" cy="306345"/>
            </a:xfrm>
            <a:prstGeom prst="rect">
              <a:avLst/>
            </a:prstGeom>
            <a:solidFill>
              <a:schemeClr val="bg1">
                <a:lumMod val="85000"/>
                <a:alpha val="1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5" name="Группа 57"/>
            <p:cNvGrpSpPr/>
            <p:nvPr/>
          </p:nvGrpSpPr>
          <p:grpSpPr>
            <a:xfrm>
              <a:off x="1558378" y="1570633"/>
              <a:ext cx="615417" cy="537351"/>
              <a:chOff x="469230" y="2498793"/>
              <a:chExt cx="1202548" cy="1224366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52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53" name="TextBox 51"/>
              <p:cNvSpPr txBox="1">
                <a:spLocks noChangeArrowheads="1"/>
              </p:cNvSpPr>
              <p:nvPr/>
            </p:nvSpPr>
            <p:spPr bwMode="auto">
              <a:xfrm>
                <a:off x="469230" y="3063960"/>
                <a:ext cx="1202548" cy="65919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«МО» АЖ</a:t>
                </a:r>
              </a:p>
            </p:txBody>
          </p:sp>
        </p:grpSp>
        <p:grpSp>
          <p:nvGrpSpPr>
            <p:cNvPr id="46" name="Группа 60"/>
            <p:cNvGrpSpPr/>
            <p:nvPr/>
          </p:nvGrpSpPr>
          <p:grpSpPr>
            <a:xfrm>
              <a:off x="944594" y="2080087"/>
              <a:ext cx="615417" cy="537351"/>
              <a:chOff x="469230" y="2498793"/>
              <a:chExt cx="1202548" cy="1224366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50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51" name="TextBox 51"/>
              <p:cNvSpPr txBox="1">
                <a:spLocks noChangeArrowheads="1"/>
              </p:cNvSpPr>
              <p:nvPr/>
            </p:nvSpPr>
            <p:spPr bwMode="auto">
              <a:xfrm>
                <a:off x="469230" y="3063960"/>
                <a:ext cx="1202548" cy="65919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«МО» АЖ</a:t>
                </a:r>
              </a:p>
            </p:txBody>
          </p:sp>
        </p:grpSp>
        <p:sp>
          <p:nvSpPr>
            <p:cNvPr id="37" name="Прямоугольник 36"/>
            <p:cNvSpPr/>
            <p:nvPr/>
          </p:nvSpPr>
          <p:spPr>
            <a:xfrm>
              <a:off x="707712" y="1794260"/>
              <a:ext cx="1050463" cy="200055"/>
            </a:xfrm>
            <a:prstGeom prst="rect">
              <a:avLst/>
            </a:prstGeom>
            <a:solidFill>
              <a:schemeClr val="bg1">
                <a:lumMod val="85000"/>
                <a:alpha val="10196"/>
              </a:schemeClr>
            </a:solidFill>
          </p:spPr>
          <p:txBody>
            <a:bodyPr wrap="none">
              <a:spAutoFit/>
            </a:bodyPr>
            <a:lstStyle/>
            <a:p>
              <a:pPr marL="12700" lvl="0" algn="ctr">
                <a:spcBef>
                  <a:spcPts val="100"/>
                </a:spcBef>
                <a:defRPr/>
              </a:pPr>
              <a:r>
                <a:rPr lang="kk-KZ" sz="700" b="1" cap="all" dirty="0" err="1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ңбекминінің</a:t>
              </a:r>
              <a:r>
                <a:rPr lang="kk-KZ" sz="700" b="1" cap="all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АЖ</a:t>
              </a:r>
              <a:endParaRPr lang="kk-KZ" sz="700" b="1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Скругленный прямоугольник 78"/>
            <p:cNvSpPr/>
            <p:nvPr/>
          </p:nvSpPr>
          <p:spPr>
            <a:xfrm>
              <a:off x="274938" y="1024717"/>
              <a:ext cx="1880751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5AB6D3B5-9A19-4485-B608-49785826EE52}"/>
              </a:ext>
            </a:extLst>
          </p:cNvPr>
          <p:cNvGrpSpPr/>
          <p:nvPr/>
        </p:nvGrpSpPr>
        <p:grpSpPr>
          <a:xfrm>
            <a:off x="3228804" y="1250929"/>
            <a:ext cx="1904336" cy="1466490"/>
            <a:chOff x="2920545" y="1013215"/>
            <a:chExt cx="1938740" cy="1466490"/>
          </a:xfrm>
        </p:grpSpPr>
        <p:pic>
          <p:nvPicPr>
            <p:cNvPr id="65" name="Google Shape;75;p15"/>
            <p:cNvPicPr preferRelativeResize="0"/>
            <p:nvPr/>
          </p:nvPicPr>
          <p:blipFill rotWithShape="1">
            <a:blip r:embed="rId15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 l="18504" t="14956" r="24152" b="19301"/>
            <a:stretch/>
          </p:blipFill>
          <p:spPr>
            <a:xfrm>
              <a:off x="4063249" y="1800324"/>
              <a:ext cx="540000" cy="54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6" name="Google Shape;73;p15"/>
            <p:cNvPicPr preferRelativeResize="0"/>
            <p:nvPr/>
          </p:nvPicPr>
          <p:blipFill rotWithShape="1">
            <a:blip r:embed="rId16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 l="24980" t="17666" r="19886" b="19531"/>
            <a:stretch/>
          </p:blipFill>
          <p:spPr>
            <a:xfrm>
              <a:off x="4100542" y="1182833"/>
              <a:ext cx="500706" cy="45988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7" name="Google Shape;196;p7"/>
            <p:cNvPicPr preferRelativeResize="0"/>
            <p:nvPr/>
          </p:nvPicPr>
          <p:blipFill rotWithShape="1">
            <a:blip r:embed="rId17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/>
            <a:stretch/>
          </p:blipFill>
          <p:spPr>
            <a:xfrm>
              <a:off x="3286496" y="1201925"/>
              <a:ext cx="463352" cy="34572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Группа 71"/>
            <p:cNvGrpSpPr>
              <a:grpSpLocks/>
            </p:cNvGrpSpPr>
            <p:nvPr/>
          </p:nvGrpSpPr>
          <p:grpSpPr bwMode="auto">
            <a:xfrm>
              <a:off x="3152331" y="1819006"/>
              <a:ext cx="863635" cy="620688"/>
              <a:chOff x="2720630" y="4646428"/>
              <a:chExt cx="864230" cy="620617"/>
            </a:xfrm>
          </p:grpSpPr>
          <p:pic>
            <p:nvPicPr>
              <p:cNvPr id="69" name="Рисунок 68"/>
              <p:cNvPicPr>
                <a:picLocks noChangeAspect="1"/>
              </p:cNvPicPr>
              <p:nvPr/>
            </p:nvPicPr>
            <p:blipFill>
              <a:blip r:embed="rId18" cstate="print">
                <a:duotone>
                  <a:srgbClr val="4472C4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92035" y="4646428"/>
                <a:ext cx="483240" cy="405198"/>
              </a:xfrm>
              <a:prstGeom prst="rect">
                <a:avLst/>
              </a:prstGeom>
            </p:spPr>
          </p:pic>
          <p:sp>
            <p:nvSpPr>
              <p:cNvPr id="70" name="TextBox 70"/>
              <p:cNvSpPr txBox="1">
                <a:spLocks noChangeArrowheads="1"/>
              </p:cNvSpPr>
              <p:nvPr/>
            </p:nvSpPr>
            <p:spPr bwMode="auto">
              <a:xfrm>
                <a:off x="2720630" y="5051626"/>
                <a:ext cx="864230" cy="2154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ru-RU" sz="8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ww.enbek.kz</a:t>
                </a:r>
                <a:endParaRPr lang="ru-RU" altLang="ru-RU" sz="8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0" name="Скругленный прямоугольник 79"/>
            <p:cNvSpPr/>
            <p:nvPr/>
          </p:nvSpPr>
          <p:spPr>
            <a:xfrm>
              <a:off x="2920545" y="1013215"/>
              <a:ext cx="1938740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Стрелка вправо 3"/>
          <p:cNvSpPr/>
          <p:nvPr/>
        </p:nvSpPr>
        <p:spPr>
          <a:xfrm rot="16200000">
            <a:off x="1848779" y="2734308"/>
            <a:ext cx="204342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83378" y="1523537"/>
            <a:ext cx="91884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әліметтер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Стрелка вправо 63"/>
          <p:cNvSpPr/>
          <p:nvPr/>
        </p:nvSpPr>
        <p:spPr>
          <a:xfrm rot="5400000">
            <a:off x="3405272" y="2770105"/>
            <a:ext cx="212910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3574502" y="2769223"/>
            <a:ext cx="149869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еректерді</a:t>
            </a: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өңдеу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Стрелка вправо 82"/>
          <p:cNvSpPr/>
          <p:nvPr/>
        </p:nvSpPr>
        <p:spPr>
          <a:xfrm>
            <a:off x="2400287" y="1860933"/>
            <a:ext cx="736685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4704" y="2769224"/>
            <a:ext cx="12174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9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ызметтер</a:t>
            </a:r>
            <a:r>
              <a:rPr lang="ru-RU" sz="9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өрсету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="" xmlns:a16="http://schemas.microsoft.com/office/drawing/2014/main" id="{7E2B949E-2F48-4BA9-8A48-28DA6F27C43E}"/>
              </a:ext>
            </a:extLst>
          </p:cNvPr>
          <p:cNvCxnSpPr/>
          <p:nvPr/>
        </p:nvCxnSpPr>
        <p:spPr>
          <a:xfrm>
            <a:off x="5294630" y="1183918"/>
            <a:ext cx="0" cy="3416264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Прямоугольник 105">
            <a:extLst>
              <a:ext uri="{FF2B5EF4-FFF2-40B4-BE49-F238E27FC236}">
                <a16:creationId xmlns="" xmlns:a16="http://schemas.microsoft.com/office/drawing/2014/main" id="{A904B557-053C-4AAC-87B0-85A3495317FB}"/>
              </a:ext>
            </a:extLst>
          </p:cNvPr>
          <p:cNvSpPr/>
          <p:nvPr/>
        </p:nvSpPr>
        <p:spPr>
          <a:xfrm>
            <a:off x="512606" y="3861640"/>
            <a:ext cx="563633" cy="261610"/>
          </a:xfrm>
          <a:prstGeom prst="rect">
            <a:avLst/>
          </a:prstGeom>
          <a:solidFill>
            <a:schemeClr val="bg1">
              <a:lumMod val="85000"/>
              <a:alpha val="10196"/>
            </a:schemeClr>
          </a:solidFill>
        </p:spPr>
        <p:txBody>
          <a:bodyPr wrap="square">
            <a:spAutoFit/>
          </a:bodyPr>
          <a:lstStyle/>
          <a:p>
            <a:pPr marL="12700" lvl="0" algn="ctr">
              <a:spcBef>
                <a:spcPts val="100"/>
              </a:spcBef>
              <a:defRPr/>
            </a:pPr>
            <a:r>
              <a:rPr lang="kk-KZ" sz="1100" b="1" cap="all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Б </a:t>
            </a:r>
            <a:endParaRPr lang="kk-KZ" sz="1100" b="1" cap="all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Скругленный прямоугольник 78">
            <a:extLst>
              <a:ext uri="{FF2B5EF4-FFF2-40B4-BE49-F238E27FC236}">
                <a16:creationId xmlns="" xmlns:a16="http://schemas.microsoft.com/office/drawing/2014/main" id="{FCD8CE4F-A6F2-4D2F-839A-658ABBA8BF9D}"/>
              </a:ext>
            </a:extLst>
          </p:cNvPr>
          <p:cNvSpPr/>
          <p:nvPr/>
        </p:nvSpPr>
        <p:spPr>
          <a:xfrm>
            <a:off x="377105" y="3093115"/>
            <a:ext cx="1874840" cy="1466490"/>
          </a:xfrm>
          <a:prstGeom prst="roundRect">
            <a:avLst/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Стрелка вправо 82">
            <a:extLst>
              <a:ext uri="{FF2B5EF4-FFF2-40B4-BE49-F238E27FC236}">
                <a16:creationId xmlns="" xmlns:a16="http://schemas.microsoft.com/office/drawing/2014/main" id="{B4D8DE58-F702-4B99-9430-895201927A45}"/>
              </a:ext>
            </a:extLst>
          </p:cNvPr>
          <p:cNvSpPr/>
          <p:nvPr/>
        </p:nvSpPr>
        <p:spPr>
          <a:xfrm rot="10800000">
            <a:off x="2349260" y="3625641"/>
            <a:ext cx="750086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7" name="Picture 12" descr="C:\Users\rahmatulinVD\AppData\Local\Microsoft\Windows\Temporary Internet Files\Content.IE5\8LM7CNZ3\MC900434847[1].png">
            <a:extLst>
              <a:ext uri="{FF2B5EF4-FFF2-40B4-BE49-F238E27FC236}">
                <a16:creationId xmlns="" xmlns:a16="http://schemas.microsoft.com/office/drawing/2014/main" id="{48302FAF-CF1D-4733-9876-1D70D9BB9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11" y="3337557"/>
            <a:ext cx="489528" cy="48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Рисунок 117">
            <a:extLst>
              <a:ext uri="{FF2B5EF4-FFF2-40B4-BE49-F238E27FC236}">
                <a16:creationId xmlns="" xmlns:a16="http://schemas.microsoft.com/office/drawing/2014/main" id="{B9900EA4-53AF-404E-ACF0-2B368292075F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44"/>
          <a:stretch/>
        </p:blipFill>
        <p:spPr bwMode="auto">
          <a:xfrm>
            <a:off x="1138270" y="3280964"/>
            <a:ext cx="838332" cy="532653"/>
          </a:xfrm>
          <a:prstGeom prst="rect">
            <a:avLst/>
          </a:prstGeom>
        </p:spPr>
      </p:pic>
      <p:sp>
        <p:nvSpPr>
          <p:cNvPr id="119" name="Прямоугольник 118">
            <a:extLst>
              <a:ext uri="{FF2B5EF4-FFF2-40B4-BE49-F238E27FC236}">
                <a16:creationId xmlns="" xmlns:a16="http://schemas.microsoft.com/office/drawing/2014/main" id="{EBE32589-32F3-46C3-8E4A-133EE01DE324}"/>
              </a:ext>
            </a:extLst>
          </p:cNvPr>
          <p:cNvSpPr/>
          <p:nvPr/>
        </p:nvSpPr>
        <p:spPr>
          <a:xfrm>
            <a:off x="1120706" y="3851265"/>
            <a:ext cx="1000595" cy="261610"/>
          </a:xfrm>
          <a:prstGeom prst="rect">
            <a:avLst/>
          </a:prstGeom>
          <a:solidFill>
            <a:schemeClr val="bg1">
              <a:lumMod val="85000"/>
              <a:alpha val="10196"/>
            </a:schemeClr>
          </a:solidFill>
        </p:spPr>
        <p:txBody>
          <a:bodyPr wrap="none">
            <a:spAutoFit/>
          </a:bodyPr>
          <a:lstStyle/>
          <a:p>
            <a:pPr marL="12700" lvl="0" algn="ctr">
              <a:spcBef>
                <a:spcPts val="100"/>
              </a:spcBef>
              <a:defRPr/>
            </a:pPr>
            <a:r>
              <a:rPr lang="kk-KZ" sz="1100" b="1" cap="all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.Әмиян </a:t>
            </a:r>
            <a:endParaRPr lang="kk-KZ" sz="1100" b="1" cap="all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="" xmlns:a16="http://schemas.microsoft.com/office/drawing/2014/main" id="{CDEC8AE2-E751-4083-B2D6-B656AD15FF59}"/>
              </a:ext>
            </a:extLst>
          </p:cNvPr>
          <p:cNvSpPr/>
          <p:nvPr/>
        </p:nvSpPr>
        <p:spPr>
          <a:xfrm>
            <a:off x="2426219" y="3334656"/>
            <a:ext cx="6848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удару</a:t>
            </a:r>
            <a:r>
              <a:rPr lang="ru-RU" sz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="" xmlns:a16="http://schemas.microsoft.com/office/drawing/2014/main" id="{DC13E64F-A513-40B8-8720-848CF104CDC9}"/>
              </a:ext>
            </a:extLst>
          </p:cNvPr>
          <p:cNvSpPr/>
          <p:nvPr/>
        </p:nvSpPr>
        <p:spPr>
          <a:xfrm>
            <a:off x="5952337" y="1054395"/>
            <a:ext cx="2912263" cy="36345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="" xmlns:a16="http://schemas.microsoft.com/office/drawing/2014/main" id="{F5919FC3-215C-4B89-A18F-0D90545CDAC7}"/>
              </a:ext>
            </a:extLst>
          </p:cNvPr>
          <p:cNvSpPr/>
          <p:nvPr/>
        </p:nvSpPr>
        <p:spPr>
          <a:xfrm>
            <a:off x="5957524" y="1114656"/>
            <a:ext cx="298327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емлекеттік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ызмет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өрсетудің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інімдік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сілінен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активті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сіліне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өшу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ru-RU" sz="1400" b="1" kern="1200" dirty="0" smtClean="0">
              <a:solidFill>
                <a:srgbClr val="00B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ызмет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өрсетуді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изнес-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роцестері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мен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етіктерін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ңтайландыру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ладағы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қпараттық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үйелерді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лық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теграциялау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бильді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әне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12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терді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2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амыту</a:t>
            </a:r>
            <a:endParaRPr lang="ru-RU" sz="1400" kern="12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лектрондық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миянды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езең-кезеңімен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енгізу</a:t>
            </a:r>
            <a:endParaRPr lang="ru-RU" sz="1400" b="1" kern="1200" dirty="0">
              <a:solidFill>
                <a:srgbClr val="00B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6" name="Группа 85">
            <a:extLst>
              <a:ext uri="{FF2B5EF4-FFF2-40B4-BE49-F238E27FC236}">
                <a16:creationId xmlns="" xmlns:a16="http://schemas.microsoft.com/office/drawing/2014/main" id="{575C9DAA-0AE7-4F64-88B7-ED7C9224F355}"/>
              </a:ext>
            </a:extLst>
          </p:cNvPr>
          <p:cNvGrpSpPr/>
          <p:nvPr/>
        </p:nvGrpSpPr>
        <p:grpSpPr>
          <a:xfrm>
            <a:off x="5419391" y="1230746"/>
            <a:ext cx="473951" cy="416890"/>
            <a:chOff x="5286033" y="915916"/>
            <a:chExt cx="473951" cy="416890"/>
          </a:xfrm>
        </p:grpSpPr>
        <p:sp>
          <p:nvSpPr>
            <p:cNvPr id="87" name="Rectangle 323">
              <a:extLst>
                <a:ext uri="{FF2B5EF4-FFF2-40B4-BE49-F238E27FC236}">
                  <a16:creationId xmlns="" xmlns:a16="http://schemas.microsoft.com/office/drawing/2014/main" id="{F1084C1C-C9D5-4EAD-BE1F-92A2E04EB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88" name="Группа 87">
              <a:extLst>
                <a:ext uri="{FF2B5EF4-FFF2-40B4-BE49-F238E27FC236}">
                  <a16:creationId xmlns="" xmlns:a16="http://schemas.microsoft.com/office/drawing/2014/main" id="{DF2E2908-37A5-468C-A04D-E6116E5FB46D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89" name="Прямоугольник 88">
                <a:extLst>
                  <a:ext uri="{FF2B5EF4-FFF2-40B4-BE49-F238E27FC236}">
                    <a16:creationId xmlns="" xmlns:a16="http://schemas.microsoft.com/office/drawing/2014/main" id="{DDB89EAB-8E63-46CF-B3E9-A89CEB649DBE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Заголовок 1">
                <a:extLst>
                  <a:ext uri="{FF2B5EF4-FFF2-40B4-BE49-F238E27FC236}">
                    <a16:creationId xmlns="" xmlns:a16="http://schemas.microsoft.com/office/drawing/2014/main" id="{72E7101B-289E-4DCD-990F-BCEE87E97A3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91" name="Группа 90">
            <a:extLst>
              <a:ext uri="{FF2B5EF4-FFF2-40B4-BE49-F238E27FC236}">
                <a16:creationId xmlns="" xmlns:a16="http://schemas.microsoft.com/office/drawing/2014/main" id="{CEC3E5FB-760B-4419-B6D5-C95B7537CEF0}"/>
              </a:ext>
            </a:extLst>
          </p:cNvPr>
          <p:cNvGrpSpPr/>
          <p:nvPr/>
        </p:nvGrpSpPr>
        <p:grpSpPr>
          <a:xfrm>
            <a:off x="5407946" y="2012220"/>
            <a:ext cx="473951" cy="416890"/>
            <a:chOff x="5286033" y="915916"/>
            <a:chExt cx="473951" cy="416890"/>
          </a:xfrm>
        </p:grpSpPr>
        <p:sp>
          <p:nvSpPr>
            <p:cNvPr id="92" name="Rectangle 323">
              <a:extLst>
                <a:ext uri="{FF2B5EF4-FFF2-40B4-BE49-F238E27FC236}">
                  <a16:creationId xmlns="" xmlns:a16="http://schemas.microsoft.com/office/drawing/2014/main" id="{D7A40699-DE7D-4755-AEE3-965965249F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93" name="Группа 92">
              <a:extLst>
                <a:ext uri="{FF2B5EF4-FFF2-40B4-BE49-F238E27FC236}">
                  <a16:creationId xmlns="" xmlns:a16="http://schemas.microsoft.com/office/drawing/2014/main" id="{D566C59F-4F69-4007-97E6-4D4276B6FFAF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94" name="Прямоугольник 93">
                <a:extLst>
                  <a:ext uri="{FF2B5EF4-FFF2-40B4-BE49-F238E27FC236}">
                    <a16:creationId xmlns="" xmlns:a16="http://schemas.microsoft.com/office/drawing/2014/main" id="{B97DDEE1-5FA0-4D6C-B06D-4937F57BC7BE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Заголовок 1">
                <a:extLst>
                  <a:ext uri="{FF2B5EF4-FFF2-40B4-BE49-F238E27FC236}">
                    <a16:creationId xmlns="" xmlns:a16="http://schemas.microsoft.com/office/drawing/2014/main" id="{FDC9D678-AAE9-4EBE-9D72-724E0C37683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  <p:grpSp>
        <p:nvGrpSpPr>
          <p:cNvPr id="96" name="Группа 95">
            <a:extLst>
              <a:ext uri="{FF2B5EF4-FFF2-40B4-BE49-F238E27FC236}">
                <a16:creationId xmlns="" xmlns:a16="http://schemas.microsoft.com/office/drawing/2014/main" id="{56809F8D-EE47-48B2-B312-5F2D9F28AA4B}"/>
              </a:ext>
            </a:extLst>
          </p:cNvPr>
          <p:cNvGrpSpPr/>
          <p:nvPr/>
        </p:nvGrpSpPr>
        <p:grpSpPr>
          <a:xfrm>
            <a:off x="5421321" y="2695899"/>
            <a:ext cx="473951" cy="416890"/>
            <a:chOff x="5286033" y="915916"/>
            <a:chExt cx="473951" cy="416890"/>
          </a:xfrm>
        </p:grpSpPr>
        <p:sp>
          <p:nvSpPr>
            <p:cNvPr id="120" name="Rectangle 323">
              <a:extLst>
                <a:ext uri="{FF2B5EF4-FFF2-40B4-BE49-F238E27FC236}">
                  <a16:creationId xmlns="" xmlns:a16="http://schemas.microsoft.com/office/drawing/2014/main" id="{315C1623-0452-4516-9805-65AC3325BCF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121" name="Группа 120">
              <a:extLst>
                <a:ext uri="{FF2B5EF4-FFF2-40B4-BE49-F238E27FC236}">
                  <a16:creationId xmlns="" xmlns:a16="http://schemas.microsoft.com/office/drawing/2014/main" id="{4A02C974-DC79-4856-A865-6D7A2796BED0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122" name="Прямоугольник 121">
                <a:extLst>
                  <a:ext uri="{FF2B5EF4-FFF2-40B4-BE49-F238E27FC236}">
                    <a16:creationId xmlns="" xmlns:a16="http://schemas.microsoft.com/office/drawing/2014/main" id="{D3E82EF1-9160-4630-8785-8EFBFAA36A8B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Заголовок 1">
                <a:extLst>
                  <a:ext uri="{FF2B5EF4-FFF2-40B4-BE49-F238E27FC236}">
                    <a16:creationId xmlns="" xmlns:a16="http://schemas.microsoft.com/office/drawing/2014/main" id="{47EBD45E-C827-4CBE-A99B-F1549B051F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</p:grpSp>
      <p:grpSp>
        <p:nvGrpSpPr>
          <p:cNvPr id="141" name="Группа 140">
            <a:extLst>
              <a:ext uri="{FF2B5EF4-FFF2-40B4-BE49-F238E27FC236}">
                <a16:creationId xmlns="" xmlns:a16="http://schemas.microsoft.com/office/drawing/2014/main" id="{3202C394-B437-401B-AA76-6F2656D07305}"/>
              </a:ext>
            </a:extLst>
          </p:cNvPr>
          <p:cNvGrpSpPr/>
          <p:nvPr/>
        </p:nvGrpSpPr>
        <p:grpSpPr>
          <a:xfrm>
            <a:off x="5434118" y="3551952"/>
            <a:ext cx="473951" cy="416890"/>
            <a:chOff x="5286033" y="915916"/>
            <a:chExt cx="473951" cy="416890"/>
          </a:xfrm>
        </p:grpSpPr>
        <p:sp>
          <p:nvSpPr>
            <p:cNvPr id="142" name="Rectangle 323">
              <a:extLst>
                <a:ext uri="{FF2B5EF4-FFF2-40B4-BE49-F238E27FC236}">
                  <a16:creationId xmlns="" xmlns:a16="http://schemas.microsoft.com/office/drawing/2014/main" id="{1DBA5CC9-F15C-4D5F-A6E6-3A6752B91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143" name="Группа 142">
              <a:extLst>
                <a:ext uri="{FF2B5EF4-FFF2-40B4-BE49-F238E27FC236}">
                  <a16:creationId xmlns="" xmlns:a16="http://schemas.microsoft.com/office/drawing/2014/main" id="{7988BAD7-8F0D-45AE-9970-82B8D7F0FC49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144" name="Прямоугольник 143">
                <a:extLst>
                  <a:ext uri="{FF2B5EF4-FFF2-40B4-BE49-F238E27FC236}">
                    <a16:creationId xmlns="" xmlns:a16="http://schemas.microsoft.com/office/drawing/2014/main" id="{775ADB74-B175-4B94-924E-7E217DF396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Заголовок 1">
                <a:extLst>
                  <a:ext uri="{FF2B5EF4-FFF2-40B4-BE49-F238E27FC236}">
                    <a16:creationId xmlns="" xmlns:a16="http://schemas.microsoft.com/office/drawing/2014/main" id="{4B0CBA88-0A1E-43E1-BC2A-E7167B0AD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grpSp>
        <p:nvGrpSpPr>
          <p:cNvPr id="73" name="Группа 72">
            <a:extLst>
              <a:ext uri="{FF2B5EF4-FFF2-40B4-BE49-F238E27FC236}">
                <a16:creationId xmlns="" xmlns:a16="http://schemas.microsoft.com/office/drawing/2014/main" id="{3202C394-B437-401B-AA76-6F2656D07305}"/>
              </a:ext>
            </a:extLst>
          </p:cNvPr>
          <p:cNvGrpSpPr/>
          <p:nvPr/>
        </p:nvGrpSpPr>
        <p:grpSpPr>
          <a:xfrm>
            <a:off x="5415199" y="4252506"/>
            <a:ext cx="473951" cy="416890"/>
            <a:chOff x="5286033" y="915916"/>
            <a:chExt cx="473951" cy="416890"/>
          </a:xfrm>
        </p:grpSpPr>
        <p:sp>
          <p:nvSpPr>
            <p:cNvPr id="74" name="Rectangle 323">
              <a:extLst>
                <a:ext uri="{FF2B5EF4-FFF2-40B4-BE49-F238E27FC236}">
                  <a16:creationId xmlns="" xmlns:a16="http://schemas.microsoft.com/office/drawing/2014/main" id="{1DBA5CC9-F15C-4D5F-A6E6-3A6752B91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75" name="Группа 74">
              <a:extLst>
                <a:ext uri="{FF2B5EF4-FFF2-40B4-BE49-F238E27FC236}">
                  <a16:creationId xmlns="" xmlns:a16="http://schemas.microsoft.com/office/drawing/2014/main" id="{7988BAD7-8F0D-45AE-9970-82B8D7F0FC49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76" name="Прямоугольник 75">
                <a:extLst>
                  <a:ext uri="{FF2B5EF4-FFF2-40B4-BE49-F238E27FC236}">
                    <a16:creationId xmlns="" xmlns:a16="http://schemas.microsoft.com/office/drawing/2014/main" id="{775ADB74-B175-4B94-924E-7E217DF396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Заголовок 1">
                <a:extLst>
                  <a:ext uri="{FF2B5EF4-FFF2-40B4-BE49-F238E27FC236}">
                    <a16:creationId xmlns="" xmlns:a16="http://schemas.microsoft.com/office/drawing/2014/main" id="{4B0CBA88-0A1E-43E1-BC2A-E7167B0AD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222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xmlns="" id="{25BB55E4-F2E4-4B68-ABC0-F4AA231EFD58}"/>
              </a:ext>
            </a:extLst>
          </p:cNvPr>
          <p:cNvSpPr txBox="1">
            <a:spLocks/>
          </p:cNvSpPr>
          <p:nvPr/>
        </p:nvSpPr>
        <p:spPr>
          <a:xfrm>
            <a:off x="366203" y="86180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ҮГЕДЕКТІГІ БАР АДАМДАРДЫ ҚОЛДАУ</a:t>
            </a:r>
            <a:endParaRPr lang="ru-RU" sz="20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xmlns="" id="{3D2501C6-F0ED-49A9-984A-F0C6DB0B22A2}"/>
              </a:ext>
            </a:extLst>
          </p:cNvPr>
          <p:cNvSpPr txBox="1"/>
          <p:nvPr/>
        </p:nvSpPr>
        <p:spPr>
          <a:xfrm>
            <a:off x="262442" y="444523"/>
            <a:ext cx="1253144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 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әлеуметтік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қолдау түрі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5" name="object 120">
            <a:extLst>
              <a:ext uri="{FF2B5EF4-FFF2-40B4-BE49-F238E27FC236}">
                <a16:creationId xmlns:a16="http://schemas.microsoft.com/office/drawing/2014/main" xmlns="" id="{C8B5EF83-E6FD-442E-BDED-DD0A05DD77CD}"/>
              </a:ext>
            </a:extLst>
          </p:cNvPr>
          <p:cNvSpPr/>
          <p:nvPr/>
        </p:nvSpPr>
        <p:spPr>
          <a:xfrm>
            <a:off x="378115" y="1111533"/>
            <a:ext cx="8497846" cy="99693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object 121">
            <a:extLst>
              <a:ext uri="{FF2B5EF4-FFF2-40B4-BE49-F238E27FC236}">
                <a16:creationId xmlns:a16="http://schemas.microsoft.com/office/drawing/2014/main" xmlns="" id="{028060BD-6759-4277-874E-51713D450829}"/>
              </a:ext>
            </a:extLst>
          </p:cNvPr>
          <p:cNvSpPr/>
          <p:nvPr/>
        </p:nvSpPr>
        <p:spPr>
          <a:xfrm>
            <a:off x="378115" y="448745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xmlns="" id="{B79B6C4A-882F-40E6-AFBB-1643AD8CE7C9}"/>
              </a:ext>
            </a:extLst>
          </p:cNvPr>
          <p:cNvSpPr txBox="1"/>
          <p:nvPr/>
        </p:nvSpPr>
        <p:spPr>
          <a:xfrm>
            <a:off x="2286866" y="448944"/>
            <a:ext cx="1253144" cy="453885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</a:t>
            </a:r>
            <a:endParaRPr lang="kk-KZ" sz="1600" b="1" kern="1000" dirty="0">
              <a:solidFill>
                <a:srgbClr val="00206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з</a:t>
            </a:r>
            <a:r>
              <a:rPr lang="kk-KZ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аңда реттеледі</a:t>
            </a:r>
            <a:endParaRPr lang="kk-KZ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xmlns="" id="{49CBA34A-A78B-4B4C-9774-7257D3B51C37}"/>
              </a:ext>
            </a:extLst>
          </p:cNvPr>
          <p:cNvSpPr txBox="1"/>
          <p:nvPr/>
        </p:nvSpPr>
        <p:spPr>
          <a:xfrm>
            <a:off x="7000754" y="466117"/>
            <a:ext cx="1253144" cy="605208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100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өлемдер көлемі 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4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75,7</a:t>
            </a:r>
            <a:r>
              <a:rPr lang="kk-KZ" sz="1100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</a:t>
            </a:r>
            <a:endParaRPr lang="kk-KZ" sz="1100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100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лрд. </a:t>
            </a:r>
            <a:r>
              <a:rPr lang="kk-KZ" sz="1100" b="1" kern="1200" dirty="0" smtClean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еңге </a:t>
            </a:r>
            <a:endParaRPr lang="kk-KZ" sz="1100"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7D6943EF-E135-487F-BE89-FE765B52F6E4}"/>
              </a:ext>
            </a:extLst>
          </p:cNvPr>
          <p:cNvSpPr/>
          <p:nvPr/>
        </p:nvSpPr>
        <p:spPr>
          <a:xfrm>
            <a:off x="4132245" y="1198881"/>
            <a:ext cx="4833956" cy="30766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400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МЫНАЛАР ҰСЫНЫЛАДЫ:</a:t>
            </a:r>
            <a:endParaRPr lang="ru-RU" sz="1400" b="1" spc="-5" dirty="0">
              <a:solidFill>
                <a:srgbClr val="C09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bject 79">
            <a:extLst>
              <a:ext uri="{FF2B5EF4-FFF2-40B4-BE49-F238E27FC236}">
                <a16:creationId xmlns:a16="http://schemas.microsoft.com/office/drawing/2014/main" xmlns="" id="{F0DBC0CB-8A79-45D4-918F-CEE69706DDDB}"/>
              </a:ext>
            </a:extLst>
          </p:cNvPr>
          <p:cNvSpPr/>
          <p:nvPr/>
        </p:nvSpPr>
        <p:spPr>
          <a:xfrm>
            <a:off x="4254848" y="1688314"/>
            <a:ext cx="284280" cy="312271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bject 79">
            <a:extLst>
              <a:ext uri="{FF2B5EF4-FFF2-40B4-BE49-F238E27FC236}">
                <a16:creationId xmlns:a16="http://schemas.microsoft.com/office/drawing/2014/main" xmlns="" id="{A4822D36-2E57-4DFF-9451-797854984ACB}"/>
              </a:ext>
            </a:extLst>
          </p:cNvPr>
          <p:cNvSpPr/>
          <p:nvPr/>
        </p:nvSpPr>
        <p:spPr>
          <a:xfrm rot="10800000" flipV="1">
            <a:off x="4220878" y="2883394"/>
            <a:ext cx="330505" cy="307877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ject 79">
            <a:extLst>
              <a:ext uri="{FF2B5EF4-FFF2-40B4-BE49-F238E27FC236}">
                <a16:creationId xmlns:a16="http://schemas.microsoft.com/office/drawing/2014/main" xmlns="" id="{3B394940-CA67-451F-BABF-6159470B0FE2}"/>
              </a:ext>
            </a:extLst>
          </p:cNvPr>
          <p:cNvSpPr/>
          <p:nvPr/>
        </p:nvSpPr>
        <p:spPr>
          <a:xfrm>
            <a:off x="4214590" y="3439727"/>
            <a:ext cx="334858" cy="292201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A380C37E-6609-46C5-92E3-AF46C71BB0F7}"/>
              </a:ext>
            </a:extLst>
          </p:cNvPr>
          <p:cNvSpPr/>
          <p:nvPr/>
        </p:nvSpPr>
        <p:spPr>
          <a:xfrm>
            <a:off x="4830911" y="4181164"/>
            <a:ext cx="4154340" cy="6831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терді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пас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мен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олжетімділіг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рттыр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МӘС-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әсіби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амандарме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инақта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ыбайлас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емқорлық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терлер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ою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үгедектіг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бар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алалар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бар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тбасыларды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осымш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олдау</a:t>
            </a:r>
            <a:endParaRPr lang="ru-RU" sz="11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4" name="object 84">
            <a:extLst>
              <a:ext uri="{FF2B5EF4-FFF2-40B4-BE49-F238E27FC236}">
                <a16:creationId xmlns:a16="http://schemas.microsoft.com/office/drawing/2014/main" xmlns="" id="{A1369FE0-3DB9-484F-BB9F-2D461603532E}"/>
              </a:ext>
            </a:extLst>
          </p:cNvPr>
          <p:cNvSpPr/>
          <p:nvPr/>
        </p:nvSpPr>
        <p:spPr>
          <a:xfrm>
            <a:off x="4095571" y="4179098"/>
            <a:ext cx="4870652" cy="660041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19AB5FA-A5A0-414E-8A71-F4B0DF719D23}"/>
              </a:ext>
            </a:extLst>
          </p:cNvPr>
          <p:cNvSpPr/>
          <p:nvPr/>
        </p:nvSpPr>
        <p:spPr>
          <a:xfrm>
            <a:off x="4034362" y="4180393"/>
            <a:ext cx="1195854" cy="276884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b="1" spc="-5" dirty="0" smtClean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ӘСЕР: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78C26DBD-50DB-415B-958B-33F57E3DE2F7}"/>
              </a:ext>
            </a:extLst>
          </p:cNvPr>
          <p:cNvSpPr txBox="1"/>
          <p:nvPr/>
        </p:nvSpPr>
        <p:spPr>
          <a:xfrm>
            <a:off x="988256" y="1260317"/>
            <a:ext cx="2909162" cy="482774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4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695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үгедектіг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бар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дам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н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ішінде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алалар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94,6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  <a:endParaRPr lang="ru-RU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BD37763-B385-48DB-A4F0-FD59F10391A4}"/>
              </a:ext>
            </a:extLst>
          </p:cNvPr>
          <p:cNvSpPr txBox="1"/>
          <p:nvPr/>
        </p:nvSpPr>
        <p:spPr>
          <a:xfrm>
            <a:off x="1007708" y="1810101"/>
            <a:ext cx="2941392" cy="566194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4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50</a:t>
            </a: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үгедектік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елгілеу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ойынш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sz="11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ыл</a:t>
            </a:r>
            <a:r>
              <a:rPr lang="ru-RU" sz="11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1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йын</a:t>
            </a:r>
            <a:r>
              <a:rPr lang="ru-RU" sz="11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53A70387-DB79-4C92-8AD6-24C15F69361D}"/>
              </a:ext>
            </a:extLst>
          </p:cNvPr>
          <p:cNvGrpSpPr/>
          <p:nvPr/>
        </p:nvGrpSpPr>
        <p:grpSpPr>
          <a:xfrm>
            <a:off x="661785" y="1386567"/>
            <a:ext cx="289646" cy="2056742"/>
            <a:chOff x="4965581" y="972662"/>
            <a:chExt cx="263556" cy="1758186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xmlns="" id="{E641CB99-8BDF-4C3D-A832-2692FC074DFE}"/>
                </a:ext>
              </a:extLst>
            </p:cNvPr>
            <p:cNvCxnSpPr/>
            <p:nvPr/>
          </p:nvCxnSpPr>
          <p:spPr>
            <a:xfrm>
              <a:off x="4971182" y="972662"/>
              <a:ext cx="5955" cy="175818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xmlns="" id="{D40E9531-9598-4E2E-94BE-AAB0F79B0A4C}"/>
                </a:ext>
              </a:extLst>
            </p:cNvPr>
            <p:cNvGrpSpPr/>
            <p:nvPr/>
          </p:nvGrpSpPr>
          <p:grpSpPr>
            <a:xfrm>
              <a:off x="4965581" y="972662"/>
              <a:ext cx="263556" cy="1219565"/>
              <a:chOff x="4966322" y="888099"/>
              <a:chExt cx="263556" cy="1219565"/>
            </a:xfrm>
          </p:grpSpPr>
          <p:cxnSp>
            <p:nvCxnSpPr>
              <p:cNvPr id="21" name="Прямая со стрелкой 20">
                <a:extLst>
                  <a:ext uri="{FF2B5EF4-FFF2-40B4-BE49-F238E27FC236}">
                    <a16:creationId xmlns:a16="http://schemas.microsoft.com/office/drawing/2014/main" xmlns="" id="{7EAEF5C1-D847-4DB4-83FB-24D865F393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66322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2" name="Прямая со стрелкой 21">
                <a:extLst>
                  <a:ext uri="{FF2B5EF4-FFF2-40B4-BE49-F238E27FC236}">
                    <a16:creationId xmlns:a16="http://schemas.microsoft.com/office/drawing/2014/main" xmlns="" id="{B467726E-82A0-4E24-8763-400EF640F9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424908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3" name="Прямая со стрелкой 22">
                <a:extLst>
                  <a:ext uri="{FF2B5EF4-FFF2-40B4-BE49-F238E27FC236}">
                    <a16:creationId xmlns:a16="http://schemas.microsoft.com/office/drawing/2014/main" xmlns="" id="{CEE99B44-B156-4B4D-8107-E054D48D7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210766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73275AB-B6ED-4EAA-8D8E-080F19E76D84}"/>
              </a:ext>
            </a:extLst>
          </p:cNvPr>
          <p:cNvSpPr txBox="1"/>
          <p:nvPr/>
        </p:nvSpPr>
        <p:spPr>
          <a:xfrm>
            <a:off x="1006378" y="2581990"/>
            <a:ext cx="2941392" cy="609282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8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75</a:t>
            </a:r>
            <a:r>
              <a:rPr lang="ru-RU" sz="3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өтініш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-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өлемдер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ағайындауға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ыл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йы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endParaRPr lang="ru-RU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DA57F39-F686-4243-8535-D2AF73ED3DD2}"/>
              </a:ext>
            </a:extLst>
          </p:cNvPr>
          <p:cNvSpPr txBox="1"/>
          <p:nvPr/>
        </p:nvSpPr>
        <p:spPr>
          <a:xfrm>
            <a:off x="1022626" y="3194601"/>
            <a:ext cx="2807445" cy="53541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2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14</a:t>
            </a:r>
            <a:r>
              <a:rPr lang="ru-RU" sz="3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ӘС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кері</a:t>
            </a:r>
            <a:endParaRPr lang="ru-RU" sz="11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xmlns="" id="{F6524EE0-4E0B-4980-9320-1CD042C7BDD2}"/>
              </a:ext>
            </a:extLst>
          </p:cNvPr>
          <p:cNvCxnSpPr>
            <a:cxnSpLocks/>
          </p:cNvCxnSpPr>
          <p:nvPr/>
        </p:nvCxnSpPr>
        <p:spPr>
          <a:xfrm>
            <a:off x="677709" y="3437933"/>
            <a:ext cx="27694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7" name="object 4">
            <a:extLst>
              <a:ext uri="{FF2B5EF4-FFF2-40B4-BE49-F238E27FC236}">
                <a16:creationId xmlns:a16="http://schemas.microsoft.com/office/drawing/2014/main" xmlns="" id="{E411CBA8-D9A3-4DB8-AEAA-76F4AB33E433}"/>
              </a:ext>
            </a:extLst>
          </p:cNvPr>
          <p:cNvSpPr txBox="1"/>
          <p:nvPr/>
        </p:nvSpPr>
        <p:spPr>
          <a:xfrm>
            <a:off x="4678828" y="441959"/>
            <a:ext cx="1253144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Алушылар саны </a:t>
            </a:r>
            <a:endParaRPr lang="kk-KZ" b="1" kern="1200" dirty="0" smtClean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 smtClean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794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ың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5AA6610-D3E5-44FF-A50A-B58F5E4FAD40}"/>
              </a:ext>
            </a:extLst>
          </p:cNvPr>
          <p:cNvSpPr txBox="1"/>
          <p:nvPr/>
        </p:nvSpPr>
        <p:spPr>
          <a:xfrm>
            <a:off x="110702" y="3716146"/>
            <a:ext cx="3837068" cy="12771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>
            <a:spAutoFit/>
          </a:bodyPr>
          <a:lstStyle/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 err="1" smtClean="0">
                <a:solidFill>
                  <a:srgbClr val="002060"/>
                </a:solidFill>
              </a:rPr>
              <a:t>Кадрлар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тапшылығы</a:t>
            </a:r>
            <a:r>
              <a:rPr lang="ru-RU" b="1" dirty="0" smtClean="0">
                <a:solidFill>
                  <a:srgbClr val="002060"/>
                </a:solidFill>
              </a:rPr>
              <a:t>,</a:t>
            </a:r>
            <a:r>
              <a:rPr lang="ru-RU" dirty="0" smtClean="0">
                <a:solidFill>
                  <a:srgbClr val="002060"/>
                </a:solidFill>
              </a:rPr>
              <a:t> МӘС-те </a:t>
            </a:r>
            <a:r>
              <a:rPr lang="ru-RU" dirty="0" err="1" smtClean="0">
                <a:solidFill>
                  <a:srgbClr val="002060"/>
                </a:solidFill>
              </a:rPr>
              <a:t>жалақыны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төме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олуы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2060"/>
                </a:solidFill>
              </a:rPr>
              <a:t>(</a:t>
            </a:r>
            <a:r>
              <a:rPr lang="ru-RU" dirty="0" err="1" smtClean="0">
                <a:solidFill>
                  <a:srgbClr val="002060"/>
                </a:solidFill>
              </a:rPr>
              <a:t>орташа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алақы</a:t>
            </a:r>
            <a:r>
              <a:rPr lang="ru-RU" dirty="0" smtClean="0">
                <a:solidFill>
                  <a:srgbClr val="002060"/>
                </a:solidFill>
              </a:rPr>
              <a:t> – </a:t>
            </a:r>
            <a:r>
              <a:rPr lang="ru-RU" dirty="0">
                <a:solidFill>
                  <a:srgbClr val="002060"/>
                </a:solidFill>
              </a:rPr>
              <a:t>135 </a:t>
            </a:r>
            <a:r>
              <a:rPr lang="ru-RU" dirty="0" err="1" smtClean="0">
                <a:solidFill>
                  <a:srgbClr val="002060"/>
                </a:solidFill>
              </a:rPr>
              <a:t>мы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тг</a:t>
            </a:r>
            <a:r>
              <a:rPr lang="ru-RU" dirty="0">
                <a:solidFill>
                  <a:srgbClr val="002060"/>
                </a:solidFill>
              </a:rPr>
              <a:t>.), 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жоғары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жүктеме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</a:p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 err="1" smtClean="0">
                <a:solidFill>
                  <a:srgbClr val="002060"/>
                </a:solidFill>
              </a:rPr>
              <a:t>Кәсіптік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даярлау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үйесі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олға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қойылмаға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</a:p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 err="1" smtClean="0">
                <a:solidFill>
                  <a:srgbClr val="002060"/>
                </a:solidFill>
              </a:rPr>
              <a:t>Мүгедек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алаларды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ата-анасыны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іреуіме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ірге</a:t>
            </a:r>
            <a:r>
              <a:rPr lang="ru-RU" dirty="0" smtClean="0">
                <a:solidFill>
                  <a:srgbClr val="002060"/>
                </a:solidFill>
              </a:rPr>
              <a:t> СКЕ </a:t>
            </a:r>
            <a:r>
              <a:rPr lang="ru-RU" dirty="0" err="1" smtClean="0">
                <a:solidFill>
                  <a:srgbClr val="002060"/>
                </a:solidFill>
              </a:rPr>
              <a:t>алу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мүмкіндігіні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олмауы</a:t>
            </a:r>
            <a:endParaRPr lang="ru-RU" dirty="0">
              <a:solidFill>
                <a:srgbClr val="002060"/>
              </a:solidFill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56CC6EEB-C621-49C5-A7A5-356913C0CF92}"/>
              </a:ext>
            </a:extLst>
          </p:cNvPr>
          <p:cNvCxnSpPr/>
          <p:nvPr/>
        </p:nvCxnSpPr>
        <p:spPr>
          <a:xfrm>
            <a:off x="4016561" y="1261002"/>
            <a:ext cx="0" cy="385484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bject 79">
            <a:extLst>
              <a:ext uri="{FF2B5EF4-FFF2-40B4-BE49-F238E27FC236}">
                <a16:creationId xmlns:a16="http://schemas.microsoft.com/office/drawing/2014/main" xmlns="" id="{A5F16AA3-0A93-430D-81B2-BFFD74953064}"/>
              </a:ext>
            </a:extLst>
          </p:cNvPr>
          <p:cNvSpPr/>
          <p:nvPr/>
        </p:nvSpPr>
        <p:spPr>
          <a:xfrm>
            <a:off x="4220878" y="2130717"/>
            <a:ext cx="318250" cy="316427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9">
            <a:extLst>
              <a:ext uri="{FF2B5EF4-FFF2-40B4-BE49-F238E27FC236}">
                <a16:creationId xmlns:a16="http://schemas.microsoft.com/office/drawing/2014/main" xmlns="" id="{C3E3DCED-E47E-4C2D-A54F-B159C3917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8350" y="1619301"/>
            <a:ext cx="4394200" cy="2436221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Сырттай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куәландыруға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езең-кезеңіме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өш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(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кейбір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аурулар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бойынш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)</a:t>
            </a:r>
            <a:endParaRPr lang="ru-RU" altLang="ru-RU" sz="1200" dirty="0">
              <a:solidFill>
                <a:srgbClr val="FF000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Мемлекет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ызметшілер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үш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«МӘС-</a:t>
            </a:r>
            <a:r>
              <a:rPr lang="ru-RU" altLang="ru-RU" sz="1200" b="1" dirty="0" err="1" smtClean="0">
                <a:solidFill>
                  <a:srgbClr val="002060"/>
                </a:solidFill>
                <a:latin typeface="Arial"/>
              </a:rPr>
              <a:t>тің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dirty="0" err="1" smtClean="0">
                <a:solidFill>
                  <a:srgbClr val="002060"/>
                </a:solidFill>
                <a:latin typeface="Arial"/>
              </a:rPr>
              <a:t>сарапшы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dirty="0" err="1" smtClean="0">
                <a:solidFill>
                  <a:srgbClr val="002060"/>
                </a:solidFill>
                <a:latin typeface="Arial"/>
              </a:rPr>
              <a:t>дәрігері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/>
              </a:rPr>
              <a:t>»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рекш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татусы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нгіз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ән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олардың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іліктіліг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рттыр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,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ондай-ақ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алақысы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3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сег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рттыр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kk-KZ" sz="1000" i="1" dirty="0" smtClean="0">
                <a:solidFill>
                  <a:srgbClr val="002060"/>
                </a:solidFill>
                <a:latin typeface="Arial"/>
              </a:rPr>
              <a:t>(405 мың теңгеге дейін, 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2023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– 2025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жылдарғ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қосымш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қажеттілік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-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4,5 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.)</a:t>
            </a:r>
            <a:endParaRPr lang="ru-RU" altLang="ru-RU" sz="1200" i="1" dirty="0">
              <a:solidFill>
                <a:srgbClr val="00206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Бір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қызметк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арналға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арифт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нгіз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отырып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,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ырттай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уәландыр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жөніндегі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тәуелсіз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сарапшылар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институты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енгізу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(2023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– 2025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жылдарғ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қосымша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 err="1" smtClean="0">
                <a:solidFill>
                  <a:srgbClr val="002060"/>
                </a:solidFill>
                <a:latin typeface="Arial"/>
              </a:rPr>
              <a:t>қажеттілік</a:t>
            </a:r>
            <a:r>
              <a:rPr lang="ru-RU" altLang="ru-RU" sz="1000" i="1" dirty="0" smtClean="0">
                <a:solidFill>
                  <a:srgbClr val="002060"/>
                </a:solidFill>
                <a:latin typeface="Arial"/>
              </a:rPr>
              <a:t> - 2,4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ТЖ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кезеңінде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мүгедектік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/>
              </a:rPr>
              <a:t>мерзімін</a:t>
            </a:r>
            <a:r>
              <a:rPr lang="ru-RU" altLang="ru-RU" sz="1200" dirty="0" smtClean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автоматты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түрде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ұзарту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8978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A3593DDD-D43E-420F-9A64-EACB0E4EB2FA}"/>
              </a:ext>
            </a:extLst>
          </p:cNvPr>
          <p:cNvSpPr/>
          <p:nvPr/>
        </p:nvSpPr>
        <p:spPr>
          <a:xfrm>
            <a:off x="6008909" y="985411"/>
            <a:ext cx="2977011" cy="35927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614958" y="767845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66418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әсілдер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lang="ru-RU" sz="1800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1800" kern="1200" dirty="0">
              <a:solidFill>
                <a:srgbClr val="00206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5.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sz="1800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институттарды</a:t>
            </a:r>
            <a:r>
              <a:rPr lang="ru-RU" sz="1800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1800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реформалау</a:t>
            </a:r>
            <a:endParaRPr lang="ru-RU" sz="20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6" name="Rounded Rectangle 6"/>
          <p:cNvSpPr/>
          <p:nvPr/>
        </p:nvSpPr>
        <p:spPr>
          <a:xfrm>
            <a:off x="1767833" y="2942866"/>
            <a:ext cx="1838977" cy="429340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пен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ounded Rectangle 6"/>
          <p:cNvSpPr/>
          <p:nvPr/>
        </p:nvSpPr>
        <p:spPr>
          <a:xfrm>
            <a:off x="1512428" y="1389965"/>
            <a:ext cx="2452577" cy="789334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ақылау және әлеуметтік сүйемелдеу</a:t>
            </a:r>
            <a:endParaRPr kumimoji="0" lang="en-GB" sz="10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ounded Rectangle 6"/>
          <p:cNvSpPr/>
          <p:nvPr/>
        </p:nvSpPr>
        <p:spPr>
          <a:xfrm>
            <a:off x="3393415" y="3219745"/>
            <a:ext cx="1602329" cy="955689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инақталған активтерді инвестициялық басқару </a:t>
            </a:r>
            <a:endParaRPr kumimoji="0" lang="en-GB" sz="9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ounded Rectangle 6"/>
          <p:cNvSpPr/>
          <p:nvPr/>
        </p:nvSpPr>
        <p:spPr>
          <a:xfrm>
            <a:off x="367626" y="3225435"/>
            <a:ext cx="1602329" cy="94141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, жәрдемақылар, әлеуметтік төлемдер тағайындау</a:t>
            </a:r>
            <a:endParaRPr kumimoji="0" lang="en-GB" sz="10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961646" y="951051"/>
            <a:ext cx="3055354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иесілігі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институттарды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рталықтандыру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функцияларын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өлу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 </a:t>
            </a:r>
            <a:endParaRPr lang="ru-RU" sz="1400" b="1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0" defTabSz="578727">
              <a:spcAft>
                <a:spcPts val="1800"/>
              </a:spcAft>
              <a:buClrTx/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аланың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аржылық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ғынын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шоғырландыру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Үлкен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еректерді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»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ірыңғай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асқару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олдау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ызметтерін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институционалды</a:t>
            </a:r>
            <a:r>
              <a:rPr lang="ru-RU" sz="14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дамыту</a:t>
            </a:r>
            <a:endParaRPr lang="ru-RU" sz="1400" b="1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ке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кторды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ртуды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ынталандыру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514" y="2355272"/>
            <a:ext cx="638016" cy="522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Стрелка: влево-вправо 7">
            <a:extLst>
              <a:ext uri="{FF2B5EF4-FFF2-40B4-BE49-F238E27FC236}">
                <a16:creationId xmlns="" xmlns:a16="http://schemas.microsoft.com/office/drawing/2014/main" id="{309B9386-4B3C-4E84-AF66-8B1C2598320E}"/>
              </a:ext>
            </a:extLst>
          </p:cNvPr>
          <p:cNvSpPr/>
          <p:nvPr/>
        </p:nvSpPr>
        <p:spPr>
          <a:xfrm>
            <a:off x="2147005" y="3558894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Стрелка: влево-вправо 41">
            <a:extLst>
              <a:ext uri="{FF2B5EF4-FFF2-40B4-BE49-F238E27FC236}">
                <a16:creationId xmlns="" xmlns:a16="http://schemas.microsoft.com/office/drawing/2014/main" id="{9A583B4E-093E-4673-A990-C325FBD4FE68}"/>
              </a:ext>
            </a:extLst>
          </p:cNvPr>
          <p:cNvSpPr/>
          <p:nvPr/>
        </p:nvSpPr>
        <p:spPr>
          <a:xfrm rot="18923563">
            <a:off x="1117491" y="2556208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Стрелка: влево-вправо 42">
            <a:extLst>
              <a:ext uri="{FF2B5EF4-FFF2-40B4-BE49-F238E27FC236}">
                <a16:creationId xmlns="" xmlns:a16="http://schemas.microsoft.com/office/drawing/2014/main" id="{5F6B8FF9-1206-4181-A673-01059BC3D2F2}"/>
              </a:ext>
            </a:extLst>
          </p:cNvPr>
          <p:cNvSpPr/>
          <p:nvPr/>
        </p:nvSpPr>
        <p:spPr>
          <a:xfrm rot="2666426">
            <a:off x="3278058" y="2554436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323">
            <a:extLst>
              <a:ext uri="{FF2B5EF4-FFF2-40B4-BE49-F238E27FC236}">
                <a16:creationId xmlns="" xmlns:a16="http://schemas.microsoft.com/office/drawing/2014/main" id="{7B562CC5-D4F5-40BD-AA55-C5C7C692B3AF}"/>
              </a:ext>
            </a:extLst>
          </p:cNvPr>
          <p:cNvSpPr>
            <a:spLocks/>
          </p:cNvSpPr>
          <p:nvPr/>
        </p:nvSpPr>
        <p:spPr bwMode="gray">
          <a:xfrm>
            <a:off x="5473844" y="1121372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57" name="Группа 56">
            <a:extLst>
              <a:ext uri="{FF2B5EF4-FFF2-40B4-BE49-F238E27FC236}">
                <a16:creationId xmlns="" xmlns:a16="http://schemas.microsoft.com/office/drawing/2014/main" id="{09680B26-8071-4186-B06A-74D70E0CD17E}"/>
              </a:ext>
            </a:extLst>
          </p:cNvPr>
          <p:cNvGrpSpPr/>
          <p:nvPr/>
        </p:nvGrpSpPr>
        <p:grpSpPr>
          <a:xfrm>
            <a:off x="5388336" y="980838"/>
            <a:ext cx="455129" cy="542134"/>
            <a:chOff x="267526" y="5711186"/>
            <a:chExt cx="794579" cy="821233"/>
          </a:xfrm>
        </p:grpSpPr>
        <p:sp>
          <p:nvSpPr>
            <p:cNvPr id="58" name="Прямоугольник 57">
              <a:extLst>
                <a:ext uri="{FF2B5EF4-FFF2-40B4-BE49-F238E27FC236}">
                  <a16:creationId xmlns="" xmlns:a16="http://schemas.microsoft.com/office/drawing/2014/main" id="{E5AA29C1-E5E6-4B71-AAB4-4C19626D9E15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Заголовок 1">
              <a:extLst>
                <a:ext uri="{FF2B5EF4-FFF2-40B4-BE49-F238E27FC236}">
                  <a16:creationId xmlns="" xmlns:a16="http://schemas.microsoft.com/office/drawing/2014/main" id="{EA597844-B934-4E8D-B625-1312FF5D10BA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FD302333-5CA3-497B-9F6B-F4579CAFEC4D}"/>
              </a:ext>
            </a:extLst>
          </p:cNvPr>
          <p:cNvGrpSpPr/>
          <p:nvPr/>
        </p:nvGrpSpPr>
        <p:grpSpPr>
          <a:xfrm>
            <a:off x="5414862" y="2027454"/>
            <a:ext cx="508609" cy="542134"/>
            <a:chOff x="5385634" y="1655115"/>
            <a:chExt cx="508609" cy="542134"/>
          </a:xfrm>
        </p:grpSpPr>
        <p:sp>
          <p:nvSpPr>
            <p:cNvPr id="55" name="Rectangle 323">
              <a:extLst>
                <a:ext uri="{FF2B5EF4-FFF2-40B4-BE49-F238E27FC236}">
                  <a16:creationId xmlns="" xmlns:a16="http://schemas.microsoft.com/office/drawing/2014/main" id="{7857080E-386C-43A0-BE13-91442AB01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60" name="Группа 59">
              <a:extLst>
                <a:ext uri="{FF2B5EF4-FFF2-40B4-BE49-F238E27FC236}">
                  <a16:creationId xmlns="" xmlns:a16="http://schemas.microsoft.com/office/drawing/2014/main" id="{902F99DF-E170-425E-8D50-EAA1E6051041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61" name="Прямоугольник 60">
                <a:extLst>
                  <a:ext uri="{FF2B5EF4-FFF2-40B4-BE49-F238E27FC236}">
                    <a16:creationId xmlns="" xmlns:a16="http://schemas.microsoft.com/office/drawing/2014/main" id="{00E772FA-7319-4CD8-95DD-E8EC06E3C42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Заголовок 1">
                <a:extLst>
                  <a:ext uri="{FF2B5EF4-FFF2-40B4-BE49-F238E27FC236}">
                    <a16:creationId xmlns="" xmlns:a16="http://schemas.microsoft.com/office/drawing/2014/main" id="{B6AFAF25-271B-4042-B6D0-7654AAF65B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  <p:cxnSp>
        <p:nvCxnSpPr>
          <p:cNvPr id="63" name="Прямая соединительная линия 62">
            <a:extLst>
              <a:ext uri="{FF2B5EF4-FFF2-40B4-BE49-F238E27FC236}">
                <a16:creationId xmlns="" xmlns:a16="http://schemas.microsoft.com/office/drawing/2014/main" id="{F86A9985-A7CF-4697-8BEC-8122A2E5E88E}"/>
              </a:ext>
            </a:extLst>
          </p:cNvPr>
          <p:cNvCxnSpPr/>
          <p:nvPr/>
        </p:nvCxnSpPr>
        <p:spPr>
          <a:xfrm>
            <a:off x="5151120" y="1026667"/>
            <a:ext cx="0" cy="3712973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A61BD363-D1FC-4246-8941-7D0E0D90AA4E}"/>
              </a:ext>
            </a:extLst>
          </p:cNvPr>
          <p:cNvGrpSpPr/>
          <p:nvPr/>
        </p:nvGrpSpPr>
        <p:grpSpPr>
          <a:xfrm>
            <a:off x="5413103" y="2683301"/>
            <a:ext cx="508609" cy="542134"/>
            <a:chOff x="5385634" y="1655115"/>
            <a:chExt cx="508609" cy="542134"/>
          </a:xfrm>
        </p:grpSpPr>
        <p:sp>
          <p:nvSpPr>
            <p:cNvPr id="27" name="Rectangle 323">
              <a:extLst>
                <a:ext uri="{FF2B5EF4-FFF2-40B4-BE49-F238E27FC236}">
                  <a16:creationId xmlns="" xmlns:a16="http://schemas.microsoft.com/office/drawing/2014/main" id="{845CB11C-3A84-4136-B0E5-0BBE5562A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28" name="Группа 27">
              <a:extLst>
                <a:ext uri="{FF2B5EF4-FFF2-40B4-BE49-F238E27FC236}">
                  <a16:creationId xmlns="" xmlns:a16="http://schemas.microsoft.com/office/drawing/2014/main" id="{82B74481-AD32-4EDC-B7EB-93B53B35AFF1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29" name="Прямоугольник 28">
                <a:extLst>
                  <a:ext uri="{FF2B5EF4-FFF2-40B4-BE49-F238E27FC236}">
                    <a16:creationId xmlns="" xmlns:a16="http://schemas.microsoft.com/office/drawing/2014/main" id="{59D76D25-A607-48B7-8E3A-3D3C0938C423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Заголовок 1">
                <a:extLst>
                  <a:ext uri="{FF2B5EF4-FFF2-40B4-BE49-F238E27FC236}">
                    <a16:creationId xmlns="" xmlns:a16="http://schemas.microsoft.com/office/drawing/2014/main" id="{B703CBDB-0B7A-4A3F-B12E-765C550FE10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</p:grp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2EC0C429-E342-42BF-ACFD-2EFA1A36F7FB}"/>
              </a:ext>
            </a:extLst>
          </p:cNvPr>
          <p:cNvGrpSpPr/>
          <p:nvPr/>
        </p:nvGrpSpPr>
        <p:grpSpPr>
          <a:xfrm>
            <a:off x="5420363" y="3359862"/>
            <a:ext cx="508609" cy="542134"/>
            <a:chOff x="5385634" y="1655115"/>
            <a:chExt cx="508609" cy="542134"/>
          </a:xfrm>
        </p:grpSpPr>
        <p:sp>
          <p:nvSpPr>
            <p:cNvPr id="32" name="Rectangle 323">
              <a:extLst>
                <a:ext uri="{FF2B5EF4-FFF2-40B4-BE49-F238E27FC236}">
                  <a16:creationId xmlns="" xmlns:a16="http://schemas.microsoft.com/office/drawing/2014/main" id="{68E7F8A1-7386-46DA-BBFF-24A3A32C8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33" name="Группа 32">
              <a:extLst>
                <a:ext uri="{FF2B5EF4-FFF2-40B4-BE49-F238E27FC236}">
                  <a16:creationId xmlns="" xmlns:a16="http://schemas.microsoft.com/office/drawing/2014/main" id="{13CB2BC8-C3BC-4415-A591-30E9CE99AA76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34" name="Прямоугольник 33">
                <a:extLst>
                  <a:ext uri="{FF2B5EF4-FFF2-40B4-BE49-F238E27FC236}">
                    <a16:creationId xmlns="" xmlns:a16="http://schemas.microsoft.com/office/drawing/2014/main" id="{A02E912B-71F3-4D1C-A16A-4D88A1647D36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Заголовок 1">
                <a:extLst>
                  <a:ext uri="{FF2B5EF4-FFF2-40B4-BE49-F238E27FC236}">
                    <a16:creationId xmlns="" xmlns:a16="http://schemas.microsoft.com/office/drawing/2014/main" id="{8E9DF8E0-2A2B-4100-A249-BE71D284258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5C19756C-6DF9-4952-B30D-9A2AC049287B}"/>
              </a:ext>
            </a:extLst>
          </p:cNvPr>
          <p:cNvGrpSpPr/>
          <p:nvPr/>
        </p:nvGrpSpPr>
        <p:grpSpPr>
          <a:xfrm>
            <a:off x="5433841" y="4008573"/>
            <a:ext cx="508609" cy="542134"/>
            <a:chOff x="5385634" y="1655115"/>
            <a:chExt cx="508609" cy="542134"/>
          </a:xfrm>
        </p:grpSpPr>
        <p:sp>
          <p:nvSpPr>
            <p:cNvPr id="38" name="Rectangle 323">
              <a:extLst>
                <a:ext uri="{FF2B5EF4-FFF2-40B4-BE49-F238E27FC236}">
                  <a16:creationId xmlns="" xmlns:a16="http://schemas.microsoft.com/office/drawing/2014/main" id="{57BC05AF-AB5C-4E3D-AD2A-99E2358777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="" xmlns:a16="http://schemas.microsoft.com/office/drawing/2014/main" id="{6BB693DD-25ED-4589-AA43-7DA6490D5F84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41" name="Прямоугольник 40">
                <a:extLst>
                  <a:ext uri="{FF2B5EF4-FFF2-40B4-BE49-F238E27FC236}">
                    <a16:creationId xmlns="" xmlns:a16="http://schemas.microsoft.com/office/drawing/2014/main" id="{354D7783-C00E-48EF-867C-B852F6F67C8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Заголовок 1">
                <a:extLst>
                  <a:ext uri="{FF2B5EF4-FFF2-40B4-BE49-F238E27FC236}">
                    <a16:creationId xmlns="" xmlns:a16="http://schemas.microsoft.com/office/drawing/2014/main" id="{B8BB26D0-7F7B-426F-8772-0A919A8680C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49734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Номер слайда 1">
            <a:extLst>
              <a:ext uri="{FF2B5EF4-FFF2-40B4-BE49-F238E27FC236}">
                <a16:creationId xmlns:a16="http://schemas.microsoft.com/office/drawing/2014/main" xmlns="" id="{B794621A-AE6C-4B71-BA30-D04031DE8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79681" y="4869657"/>
            <a:ext cx="258366" cy="273844"/>
          </a:xfrm>
          <a:noFill/>
        </p:spPr>
        <p:txBody>
          <a:bodyPr/>
          <a:lstStyle>
            <a:lvl1pPr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fld id="{1101CF95-9995-4015-976A-C6FF11842DC5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/>
              <a:t>19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38EE8C4-D9B4-43EB-A487-8A97F72FAEDF}"/>
              </a:ext>
            </a:extLst>
          </p:cNvPr>
          <p:cNvSpPr txBox="1"/>
          <p:nvPr/>
        </p:nvSpPr>
        <p:spPr bwMode="auto">
          <a:xfrm>
            <a:off x="1" y="39260"/>
            <a:ext cx="9138047" cy="400110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2000" b="1" cap="all" dirty="0" smtClean="0">
                <a:solidFill>
                  <a:srgbClr val="002060"/>
                </a:solidFill>
                <a:ea typeface="Arial Unicode MS" pitchFamily="34" charset="-128"/>
              </a:rPr>
              <a:t>МЕМЛЕКЕТТІК ҚЫЗМЕТ КӨРСЕТУ ПРОЦЕСІНІҢ </a:t>
            </a:r>
            <a:r>
              <a:rPr lang="ru-RU" sz="2000" b="1" cap="all" dirty="0" err="1" smtClean="0">
                <a:solidFill>
                  <a:srgbClr val="002060"/>
                </a:solidFill>
                <a:ea typeface="Arial Unicode MS" pitchFamily="34" charset="-128"/>
              </a:rPr>
              <a:t>ТрансФОРМАЦИЯСЫ</a:t>
            </a:r>
            <a:endParaRPr lang="ru-RU" b="1" cap="all" dirty="0">
              <a:solidFill>
                <a:srgbClr val="002060"/>
              </a:solidFill>
              <a:ea typeface="Arial Unicode MS" pitchFamily="34" charset="-128"/>
            </a:endParaRPr>
          </a:p>
        </p:txBody>
      </p: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xmlns="" id="{B1E4F84C-22E9-4264-8F8A-F7D69859C34B}"/>
              </a:ext>
            </a:extLst>
          </p:cNvPr>
          <p:cNvCxnSpPr/>
          <p:nvPr/>
        </p:nvCxnSpPr>
        <p:spPr>
          <a:xfrm>
            <a:off x="490538" y="421481"/>
            <a:ext cx="8274844" cy="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1" name="Прямоугольник 5">
            <a:extLst>
              <a:ext uri="{FF2B5EF4-FFF2-40B4-BE49-F238E27FC236}">
                <a16:creationId xmlns:a16="http://schemas.microsoft.com/office/drawing/2014/main" xmlns="" id="{946C324C-211E-4D20-9F55-4175CEC84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960" y="750094"/>
            <a:ext cx="217924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err="1" smtClean="0">
                <a:solidFill>
                  <a:srgbClr val="002060"/>
                </a:solidFill>
              </a:rPr>
              <a:t>Мемлекеттік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корпорация </a:t>
            </a:r>
            <a:endParaRPr lang="ru-RU" altLang="ru-RU" sz="1050" b="1" dirty="0">
              <a:solidFill>
                <a:srgbClr val="002060"/>
              </a:solidFill>
            </a:endParaRPr>
          </a:p>
        </p:txBody>
      </p:sp>
      <p:sp>
        <p:nvSpPr>
          <p:cNvPr id="9" name="Rectangle 323">
            <a:extLst>
              <a:ext uri="{FF2B5EF4-FFF2-40B4-BE49-F238E27FC236}">
                <a16:creationId xmlns:a16="http://schemas.microsoft.com/office/drawing/2014/main" xmlns="" id="{CBE87518-7B94-4AA0-95A0-71BC97B5276E}"/>
              </a:ext>
            </a:extLst>
          </p:cNvPr>
          <p:cNvSpPr>
            <a:spLocks/>
          </p:cNvSpPr>
          <p:nvPr/>
        </p:nvSpPr>
        <p:spPr bwMode="gray">
          <a:xfrm>
            <a:off x="208360" y="1025128"/>
            <a:ext cx="2122884" cy="1566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Халықпен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ұмыс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асау</a:t>
            </a:r>
            <a:endParaRPr lang="ru-RU" sz="900" dirty="0">
              <a:solidFill>
                <a:srgbClr val="002060"/>
              </a:solidFill>
            </a:endParaRP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өлемдердің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дербестендірілген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есебі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транзиті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Қажеттілікт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айқындау</a:t>
            </a:r>
            <a:r>
              <a:rPr lang="ru-RU" sz="900" dirty="0" smtClean="0">
                <a:solidFill>
                  <a:srgbClr val="002060"/>
                </a:solidFill>
              </a:rPr>
              <a:t>, </a:t>
            </a:r>
            <a:r>
              <a:rPr lang="ru-RU" sz="900" dirty="0" err="1" smtClean="0">
                <a:solidFill>
                  <a:srgbClr val="002060"/>
                </a:solidFill>
              </a:rPr>
              <a:t>қаржыландыру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өлемдер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үзег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асыру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endParaRPr lang="ru-RU" sz="900" dirty="0">
              <a:solidFill>
                <a:srgbClr val="002060"/>
              </a:solidFill>
            </a:endParaRPr>
          </a:p>
        </p:txBody>
      </p:sp>
      <p:sp>
        <p:nvSpPr>
          <p:cNvPr id="9223" name="Прямоугольник 9">
            <a:extLst>
              <a:ext uri="{FF2B5EF4-FFF2-40B4-BE49-F238E27FC236}">
                <a16:creationId xmlns:a16="http://schemas.microsoft.com/office/drawing/2014/main" xmlns="" id="{6CDF76EC-CB70-43F9-9552-0E4BDEBA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685" y="766763"/>
            <a:ext cx="212407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smtClean="0">
                <a:solidFill>
                  <a:srgbClr val="00B050"/>
                </a:solidFill>
              </a:rPr>
              <a:t>МӘСҚ</a:t>
            </a:r>
            <a:endParaRPr lang="ru-RU" altLang="ru-RU" sz="1050" b="1" dirty="0">
              <a:solidFill>
                <a:srgbClr val="00B050"/>
              </a:solidFill>
            </a:endParaRPr>
          </a:p>
        </p:txBody>
      </p:sp>
      <p:sp>
        <p:nvSpPr>
          <p:cNvPr id="11" name="Rectangle 323">
            <a:extLst>
              <a:ext uri="{FF2B5EF4-FFF2-40B4-BE49-F238E27FC236}">
                <a16:creationId xmlns:a16="http://schemas.microsoft.com/office/drawing/2014/main" xmlns="" id="{9AA05EFA-BCC3-4244-AF61-E40EACFC9281}"/>
              </a:ext>
            </a:extLst>
          </p:cNvPr>
          <p:cNvSpPr>
            <a:spLocks/>
          </p:cNvSpPr>
          <p:nvPr/>
        </p:nvSpPr>
        <p:spPr bwMode="gray">
          <a:xfrm>
            <a:off x="2427685" y="1041798"/>
            <a:ext cx="2124075" cy="15501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өлемдер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ағайындау</a:t>
            </a:r>
            <a:endParaRPr lang="ru-RU" sz="900" dirty="0" smtClean="0">
              <a:solidFill>
                <a:srgbClr val="002060"/>
              </a:solidFill>
            </a:endParaRP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Төлемдер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қаржыландыру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едел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есепк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алу</a:t>
            </a:r>
            <a:endParaRPr lang="ru-RU" sz="900" dirty="0">
              <a:solidFill>
                <a:srgbClr val="002060"/>
              </a:solidFill>
            </a:endParaRPr>
          </a:p>
        </p:txBody>
      </p:sp>
      <p:sp>
        <p:nvSpPr>
          <p:cNvPr id="9225" name="Прямоугольник 11">
            <a:extLst>
              <a:ext uri="{FF2B5EF4-FFF2-40B4-BE49-F238E27FC236}">
                <a16:creationId xmlns:a16="http://schemas.microsoft.com/office/drawing/2014/main" xmlns="" id="{5A918D51-55F8-4451-9C0C-1D21CABC91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825" y="766763"/>
            <a:ext cx="21228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900" b="1" dirty="0" err="1" smtClean="0">
                <a:solidFill>
                  <a:srgbClr val="002060"/>
                </a:solidFill>
              </a:rPr>
              <a:t>Еңбекминінің</a:t>
            </a:r>
            <a:r>
              <a:rPr lang="ru-RU" altLang="ru-RU" sz="900" b="1" dirty="0" smtClean="0">
                <a:solidFill>
                  <a:srgbClr val="002060"/>
                </a:solidFill>
              </a:rPr>
              <a:t> </a:t>
            </a:r>
            <a:r>
              <a:rPr lang="ru-RU" altLang="ru-RU" sz="900" b="1" dirty="0" err="1" smtClean="0">
                <a:solidFill>
                  <a:srgbClr val="002060"/>
                </a:solidFill>
              </a:rPr>
              <a:t>департаменттері</a:t>
            </a:r>
            <a:r>
              <a:rPr lang="ru-RU" altLang="ru-RU" sz="900" b="1" dirty="0" smtClean="0">
                <a:solidFill>
                  <a:srgbClr val="002060"/>
                </a:solidFill>
              </a:rPr>
              <a:t> </a:t>
            </a:r>
            <a:endParaRPr lang="ru-RU" altLang="ru-RU" sz="900" b="1" dirty="0">
              <a:solidFill>
                <a:srgbClr val="002060"/>
              </a:solidFill>
            </a:endParaRPr>
          </a:p>
        </p:txBody>
      </p:sp>
      <p:sp>
        <p:nvSpPr>
          <p:cNvPr id="13" name="Rectangle 323">
            <a:extLst>
              <a:ext uri="{FF2B5EF4-FFF2-40B4-BE49-F238E27FC236}">
                <a16:creationId xmlns:a16="http://schemas.microsoft.com/office/drawing/2014/main" xmlns="" id="{E275BDE8-B019-4D41-BA0B-4F02AA77FF78}"/>
              </a:ext>
            </a:extLst>
          </p:cNvPr>
          <p:cNvSpPr>
            <a:spLocks/>
          </p:cNvSpPr>
          <p:nvPr/>
        </p:nvSpPr>
        <p:spPr bwMode="gray">
          <a:xfrm>
            <a:off x="4695825" y="1041798"/>
            <a:ext cx="2122885" cy="15501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b="1" dirty="0" err="1" smtClean="0">
                <a:solidFill>
                  <a:srgbClr val="002060"/>
                </a:solidFill>
              </a:rPr>
              <a:t>Зейнетақы</a:t>
            </a:r>
            <a:r>
              <a:rPr lang="ru-RU" sz="900" b="1" dirty="0" smtClean="0">
                <a:solidFill>
                  <a:srgbClr val="002060"/>
                </a:solidFill>
              </a:rPr>
              <a:t> мен </a:t>
            </a:r>
            <a:r>
              <a:rPr lang="ru-RU" sz="900" b="1" dirty="0" err="1" smtClean="0">
                <a:solidFill>
                  <a:srgbClr val="002060"/>
                </a:solidFill>
              </a:rPr>
              <a:t>жәрдемақылар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тағайындау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b="1" dirty="0" err="1" smtClean="0">
                <a:solidFill>
                  <a:srgbClr val="002060"/>
                </a:solidFill>
              </a:rPr>
              <a:t>Жәрдемақыларды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бюджеттен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қаржыландыруға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арналған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өтінім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Төлемдердің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дұрыс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ағайындалуын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бақылау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endParaRPr lang="ru-RU" sz="900" dirty="0">
              <a:solidFill>
                <a:srgbClr val="002060"/>
              </a:solidFill>
            </a:endParaRP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Объектілер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паспорттау</a:t>
            </a:r>
            <a:endParaRPr lang="ru-RU" sz="900" dirty="0">
              <a:solidFill>
                <a:srgbClr val="002060"/>
              </a:solidFill>
            </a:endParaRPr>
          </a:p>
        </p:txBody>
      </p:sp>
      <p:sp>
        <p:nvSpPr>
          <p:cNvPr id="9227" name="Прямоугольник 14">
            <a:extLst>
              <a:ext uri="{FF2B5EF4-FFF2-40B4-BE49-F238E27FC236}">
                <a16:creationId xmlns:a16="http://schemas.microsoft.com/office/drawing/2014/main" xmlns="" id="{4660688D-8C57-46D6-B994-DC65CA834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360" y="2957513"/>
            <a:ext cx="212288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err="1" smtClean="0">
                <a:solidFill>
                  <a:srgbClr val="002060"/>
                </a:solidFill>
              </a:rPr>
              <a:t>Мемлекеттік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050" b="1" dirty="0">
                <a:solidFill>
                  <a:srgbClr val="002060"/>
                </a:solidFill>
              </a:rPr>
              <a:t>корпорация </a:t>
            </a:r>
          </a:p>
        </p:txBody>
      </p:sp>
      <p:sp>
        <p:nvSpPr>
          <p:cNvPr id="9228" name="Rectangle 323">
            <a:extLst>
              <a:ext uri="{FF2B5EF4-FFF2-40B4-BE49-F238E27FC236}">
                <a16:creationId xmlns:a16="http://schemas.microsoft.com/office/drawing/2014/main" xmlns="" id="{5C745FA7-F52A-4C50-A1A5-B7FF57CF028A}"/>
              </a:ext>
            </a:extLst>
          </p:cNvPr>
          <p:cNvSpPr>
            <a:spLocks/>
          </p:cNvSpPr>
          <p:nvPr/>
        </p:nvSpPr>
        <p:spPr bwMode="gray">
          <a:xfrm>
            <a:off x="208360" y="3276600"/>
            <a:ext cx="2122884" cy="1684735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200" b="1" dirty="0" err="1" smtClean="0">
                <a:solidFill>
                  <a:srgbClr val="002060"/>
                </a:solidFill>
              </a:rPr>
              <a:t>Халықпен</a:t>
            </a:r>
            <a:r>
              <a:rPr lang="ru-RU" altLang="ru-RU" sz="120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200" b="1" dirty="0" err="1" smtClean="0">
                <a:solidFill>
                  <a:srgbClr val="002060"/>
                </a:solidFill>
              </a:rPr>
              <a:t>жұмыс</a:t>
            </a:r>
            <a:r>
              <a:rPr lang="ru-RU" altLang="ru-RU" sz="1200" b="1" dirty="0" smtClean="0">
                <a:solidFill>
                  <a:srgbClr val="002060"/>
                </a:solidFill>
              </a:rPr>
              <a:t> </a:t>
            </a:r>
            <a:r>
              <a:rPr lang="ru-RU" altLang="ru-RU" sz="900" dirty="0" smtClean="0">
                <a:solidFill>
                  <a:srgbClr val="002060"/>
                </a:solidFill>
              </a:rPr>
              <a:t>(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құжаттарды</a:t>
            </a:r>
            <a:r>
              <a:rPr lang="ru-RU" altLang="ru-RU" sz="900" dirty="0" smtClean="0">
                <a:solidFill>
                  <a:srgbClr val="002060"/>
                </a:solidFill>
              </a:rPr>
              <a:t> 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қабылдау</a:t>
            </a:r>
            <a:r>
              <a:rPr lang="ru-RU" altLang="ru-RU" sz="900" dirty="0" smtClean="0">
                <a:solidFill>
                  <a:srgbClr val="002060"/>
                </a:solidFill>
              </a:rPr>
              <a:t>, 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іс</a:t>
            </a:r>
            <a:r>
              <a:rPr lang="ru-RU" altLang="ru-RU" sz="900" dirty="0" smtClean="0">
                <a:solidFill>
                  <a:srgbClr val="002060"/>
                </a:solidFill>
              </a:rPr>
              <a:t> 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макеттерін</a:t>
            </a:r>
            <a:r>
              <a:rPr lang="ru-RU" altLang="ru-RU" sz="900" dirty="0" smtClean="0">
                <a:solidFill>
                  <a:srgbClr val="002060"/>
                </a:solidFill>
              </a:rPr>
              <a:t> 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қалыптастыру</a:t>
            </a:r>
            <a:r>
              <a:rPr lang="ru-RU" altLang="ru-RU" sz="900" dirty="0" smtClean="0">
                <a:solidFill>
                  <a:srgbClr val="002060"/>
                </a:solidFill>
              </a:rPr>
              <a:t>, </a:t>
            </a:r>
            <a:r>
              <a:rPr lang="ru-RU" altLang="ru-RU" sz="900" dirty="0" err="1" smtClean="0">
                <a:solidFill>
                  <a:srgbClr val="002060"/>
                </a:solidFill>
              </a:rPr>
              <a:t>азаматтарға</a:t>
            </a:r>
            <a:r>
              <a:rPr lang="ru-RU" altLang="ru-RU" sz="900" dirty="0" smtClean="0">
                <a:solidFill>
                  <a:srgbClr val="002060"/>
                </a:solidFill>
              </a:rPr>
              <a:t> консультация беру)</a:t>
            </a:r>
            <a:endParaRPr lang="ru-RU" altLang="ru-RU" sz="900" dirty="0">
              <a:solidFill>
                <a:srgbClr val="002060"/>
              </a:solidFill>
            </a:endParaRPr>
          </a:p>
        </p:txBody>
      </p:sp>
      <p:sp>
        <p:nvSpPr>
          <p:cNvPr id="9229" name="Прямоугольник 16">
            <a:extLst>
              <a:ext uri="{FF2B5EF4-FFF2-40B4-BE49-F238E27FC236}">
                <a16:creationId xmlns:a16="http://schemas.microsoft.com/office/drawing/2014/main" xmlns="" id="{EA35FB2E-2B7B-4AAE-83F0-F01D553C1E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685" y="2894410"/>
            <a:ext cx="2268138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err="1" smtClean="0">
                <a:solidFill>
                  <a:srgbClr val="00B050"/>
                </a:solidFill>
              </a:rPr>
              <a:t>Мемлекеттік</a:t>
            </a:r>
            <a:r>
              <a:rPr lang="ru-RU" altLang="ru-RU" sz="1050" b="1" dirty="0" smtClean="0">
                <a:solidFill>
                  <a:srgbClr val="00B05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B050"/>
                </a:solidFill>
              </a:rPr>
              <a:t>әлеуметтік</a:t>
            </a:r>
            <a:r>
              <a:rPr lang="ru-RU" altLang="ru-RU" sz="1050" b="1" dirty="0" smtClean="0">
                <a:solidFill>
                  <a:srgbClr val="00B05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B050"/>
                </a:solidFill>
              </a:rPr>
              <a:t>қор</a:t>
            </a:r>
            <a:r>
              <a:rPr lang="ru-RU" altLang="ru-RU" sz="1050" b="1" dirty="0" smtClean="0">
                <a:solidFill>
                  <a:srgbClr val="00B050"/>
                </a:solidFill>
              </a:rPr>
              <a:t> </a:t>
            </a:r>
            <a:r>
              <a:rPr lang="ru-RU" altLang="ru-RU" sz="900" i="1" dirty="0" smtClean="0">
                <a:solidFill>
                  <a:srgbClr val="00B050"/>
                </a:solidFill>
              </a:rPr>
              <a:t>(МӘСҚ </a:t>
            </a:r>
            <a:r>
              <a:rPr lang="ru-RU" altLang="ru-RU" sz="900" i="1" dirty="0" err="1" smtClean="0">
                <a:solidFill>
                  <a:srgbClr val="00B050"/>
                </a:solidFill>
              </a:rPr>
              <a:t>негізінде</a:t>
            </a:r>
            <a:r>
              <a:rPr lang="ru-RU" altLang="ru-RU" sz="800" i="1" dirty="0" smtClean="0">
                <a:solidFill>
                  <a:srgbClr val="00B050"/>
                </a:solidFill>
              </a:rPr>
              <a:t>)</a:t>
            </a:r>
            <a:endParaRPr lang="ru-RU" altLang="ru-RU" sz="900" i="1" dirty="0">
              <a:solidFill>
                <a:srgbClr val="00B050"/>
              </a:solidFill>
            </a:endParaRPr>
          </a:p>
        </p:txBody>
      </p:sp>
      <p:sp>
        <p:nvSpPr>
          <p:cNvPr id="9230" name="Rectangle 323">
            <a:extLst>
              <a:ext uri="{FF2B5EF4-FFF2-40B4-BE49-F238E27FC236}">
                <a16:creationId xmlns:a16="http://schemas.microsoft.com/office/drawing/2014/main" xmlns="" id="{7455F058-A8BC-4806-A55A-18FA3BACCD07}"/>
              </a:ext>
            </a:extLst>
          </p:cNvPr>
          <p:cNvSpPr>
            <a:spLocks/>
          </p:cNvSpPr>
          <p:nvPr/>
        </p:nvSpPr>
        <p:spPr bwMode="gray">
          <a:xfrm>
            <a:off x="2427685" y="3293269"/>
            <a:ext cx="2124075" cy="1668066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dirty="0" err="1" smtClean="0">
                <a:solidFill>
                  <a:srgbClr val="002060"/>
                </a:solidFill>
              </a:rPr>
              <a:t>Зейнетақы</a:t>
            </a:r>
            <a:r>
              <a:rPr lang="ru-RU" altLang="ru-RU" sz="1050" dirty="0" smtClean="0">
                <a:solidFill>
                  <a:srgbClr val="002060"/>
                </a:solidFill>
              </a:rPr>
              <a:t>, </a:t>
            </a:r>
            <a:r>
              <a:rPr lang="ru-RU" altLang="ru-RU" sz="1050" dirty="0" err="1" smtClean="0">
                <a:solidFill>
                  <a:srgbClr val="002060"/>
                </a:solidFill>
              </a:rPr>
              <a:t>жәрдемақылар</a:t>
            </a:r>
            <a:r>
              <a:rPr lang="ru-RU" altLang="ru-RU" sz="1050" dirty="0" smtClean="0">
                <a:solidFill>
                  <a:srgbClr val="002060"/>
                </a:solidFill>
              </a:rPr>
              <a:t>, </a:t>
            </a:r>
            <a:r>
              <a:rPr lang="ru-RU" altLang="ru-RU" sz="105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050" dirty="0" smtClean="0">
                <a:solidFill>
                  <a:srgbClr val="002060"/>
                </a:solidFill>
              </a:rPr>
              <a:t> </a:t>
            </a:r>
            <a:r>
              <a:rPr lang="ru-RU" altLang="ru-RU" sz="1050" dirty="0" err="1" smtClean="0">
                <a:solidFill>
                  <a:srgbClr val="002060"/>
                </a:solidFill>
              </a:rPr>
              <a:t>төлемдер</a:t>
            </a:r>
            <a:r>
              <a:rPr lang="ru-RU" altLang="ru-RU" sz="1050" dirty="0" smtClean="0">
                <a:solidFill>
                  <a:srgbClr val="002060"/>
                </a:solidFill>
              </a:rPr>
              <a:t> </a:t>
            </a:r>
            <a:r>
              <a:rPr lang="ru-RU" altLang="ru-RU" sz="1050" dirty="0" err="1" smtClean="0">
                <a:solidFill>
                  <a:srgbClr val="002060"/>
                </a:solidFill>
              </a:rPr>
              <a:t>тағайындау</a:t>
            </a:r>
            <a:endParaRPr lang="ru-RU" altLang="ru-RU" sz="1050" dirty="0" smtClean="0">
              <a:solidFill>
                <a:srgbClr val="002060"/>
              </a:solidFill>
            </a:endParaRPr>
          </a:p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Әлеуметтік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төлемдердің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дербестендірілген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есебі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және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транзиті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;</a:t>
            </a:r>
            <a:endParaRPr lang="ru-RU" altLang="ru-RU" sz="1050" b="1" dirty="0">
              <a:solidFill>
                <a:srgbClr val="002060"/>
              </a:solidFill>
            </a:endParaRP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1050" b="1" dirty="0" err="1">
                <a:solidFill>
                  <a:srgbClr val="002060"/>
                </a:solidFill>
              </a:rPr>
              <a:t>Қажеттілікті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айқындау</a:t>
            </a:r>
            <a:r>
              <a:rPr lang="ru-RU" sz="1050" b="1" dirty="0">
                <a:solidFill>
                  <a:srgbClr val="002060"/>
                </a:solidFill>
              </a:rPr>
              <a:t>, </a:t>
            </a:r>
            <a:r>
              <a:rPr lang="ru-RU" sz="1050" b="1" dirty="0" err="1">
                <a:solidFill>
                  <a:srgbClr val="002060"/>
                </a:solidFill>
              </a:rPr>
              <a:t>қаржыландыру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және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төлемдерді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жүзеге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  <a:r>
              <a:rPr lang="ru-RU" sz="1050" b="1" dirty="0" err="1">
                <a:solidFill>
                  <a:srgbClr val="002060"/>
                </a:solidFill>
              </a:rPr>
              <a:t>асыру</a:t>
            </a:r>
            <a:r>
              <a:rPr lang="ru-RU" sz="1050" b="1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9231" name="Прямоугольник 18">
            <a:extLst>
              <a:ext uri="{FF2B5EF4-FFF2-40B4-BE49-F238E27FC236}">
                <a16:creationId xmlns:a16="http://schemas.microsoft.com/office/drawing/2014/main" xmlns="" id="{F31EFC86-8E17-4DCE-A340-C91FF7B6E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825" y="2974181"/>
            <a:ext cx="2289572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err="1">
                <a:solidFill>
                  <a:srgbClr val="002060"/>
                </a:solidFill>
              </a:rPr>
              <a:t>Еңбекминінің</a:t>
            </a:r>
            <a:r>
              <a:rPr lang="ru-RU" altLang="ru-RU" sz="1050" b="1" dirty="0">
                <a:solidFill>
                  <a:srgbClr val="002060"/>
                </a:solidFill>
              </a:rPr>
              <a:t> </a:t>
            </a:r>
            <a:r>
              <a:rPr lang="ru-RU" altLang="ru-RU" sz="1050" b="1" dirty="0" err="1">
                <a:solidFill>
                  <a:srgbClr val="002060"/>
                </a:solidFill>
              </a:rPr>
              <a:t>департаменттері</a:t>
            </a:r>
            <a:r>
              <a:rPr lang="ru-RU" altLang="ru-RU" sz="1050" b="1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9232" name="Rectangle 323">
            <a:extLst>
              <a:ext uri="{FF2B5EF4-FFF2-40B4-BE49-F238E27FC236}">
                <a16:creationId xmlns:a16="http://schemas.microsoft.com/office/drawing/2014/main" xmlns="" id="{1C289C34-7524-4E9E-A6B8-9A9F6B434D7E}"/>
              </a:ext>
            </a:extLst>
          </p:cNvPr>
          <p:cNvSpPr>
            <a:spLocks/>
          </p:cNvSpPr>
          <p:nvPr/>
        </p:nvSpPr>
        <p:spPr bwMode="gray">
          <a:xfrm>
            <a:off x="4695825" y="3293269"/>
            <a:ext cx="2122885" cy="1668066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b="1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2060"/>
                </a:solidFill>
              </a:rPr>
              <a:t>қолдау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2060"/>
                </a:solidFill>
              </a:rPr>
              <a:t>көрсетудің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2060"/>
                </a:solidFill>
              </a:rPr>
              <a:t>дұрыстығы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мен </a:t>
            </a:r>
            <a:r>
              <a:rPr lang="ru-RU" altLang="ru-RU" sz="1050" b="1" dirty="0" err="1" smtClean="0">
                <a:solidFill>
                  <a:srgbClr val="002060"/>
                </a:solidFill>
              </a:rPr>
              <a:t>толықтығын</a:t>
            </a:r>
            <a:r>
              <a:rPr lang="ru-RU" altLang="ru-RU" sz="1050" b="1" dirty="0" smtClean="0">
                <a:solidFill>
                  <a:srgbClr val="002060"/>
                </a:solidFill>
              </a:rPr>
              <a:t> </a:t>
            </a:r>
            <a:r>
              <a:rPr lang="ru-RU" altLang="ru-RU" sz="1050" b="1" dirty="0" err="1" smtClean="0">
                <a:solidFill>
                  <a:srgbClr val="002060"/>
                </a:solidFill>
              </a:rPr>
              <a:t>бақылау</a:t>
            </a:r>
            <a:endParaRPr lang="ru-RU" altLang="ru-RU" sz="1050" b="1" dirty="0">
              <a:solidFill>
                <a:srgbClr val="002060"/>
              </a:solidFill>
            </a:endParaRP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1050" dirty="0" err="1">
                <a:solidFill>
                  <a:srgbClr val="002060"/>
                </a:solidFill>
              </a:rPr>
              <a:t>Объектілерді</a:t>
            </a:r>
            <a:r>
              <a:rPr lang="ru-RU" sz="1050" dirty="0">
                <a:solidFill>
                  <a:srgbClr val="002060"/>
                </a:solidFill>
              </a:rPr>
              <a:t> </a:t>
            </a:r>
            <a:r>
              <a:rPr lang="ru-RU" sz="1050" dirty="0" err="1">
                <a:solidFill>
                  <a:srgbClr val="002060"/>
                </a:solidFill>
              </a:rPr>
              <a:t>паспорттау</a:t>
            </a:r>
            <a:endParaRPr lang="ru-RU" sz="1050" dirty="0">
              <a:solidFill>
                <a:srgbClr val="002060"/>
              </a:solidFill>
            </a:endParaRPr>
          </a:p>
        </p:txBody>
      </p:sp>
      <p:cxnSp>
        <p:nvCxnSpPr>
          <p:cNvPr id="9233" name="Прямая соединительная линия 20">
            <a:extLst>
              <a:ext uri="{FF2B5EF4-FFF2-40B4-BE49-F238E27FC236}">
                <a16:creationId xmlns:a16="http://schemas.microsoft.com/office/drawing/2014/main" xmlns="" id="{DCF2FA79-A213-4E1F-A9F9-FF060F6F163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85397" y="711994"/>
            <a:ext cx="0" cy="4249341"/>
          </a:xfrm>
          <a:prstGeom prst="line">
            <a:avLst/>
          </a:prstGeom>
          <a:noFill/>
          <a:ln w="19050" algn="ctr">
            <a:solidFill>
              <a:srgbClr val="D9D9D9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60804E2F-91DC-4829-9205-27EE47AB6089}"/>
              </a:ext>
            </a:extLst>
          </p:cNvPr>
          <p:cNvSpPr/>
          <p:nvPr/>
        </p:nvSpPr>
        <p:spPr>
          <a:xfrm>
            <a:off x="7065169" y="772717"/>
            <a:ext cx="1914525" cy="2383291"/>
          </a:xfrm>
          <a:prstGeom prst="rect">
            <a:avLst/>
          </a:prstGeom>
        </p:spPr>
        <p:txBody>
          <a:bodyPr lIns="51377" tIns="25691" rIns="51377" bIns="25691">
            <a:spAutoFit/>
          </a:bodyPr>
          <a:lstStyle/>
          <a:p>
            <a:pPr>
              <a:defRPr/>
            </a:pPr>
            <a:r>
              <a:rPr lang="ru-RU" sz="900" b="1" u="sng" cap="all" dirty="0" err="1" smtClean="0">
                <a:solidFill>
                  <a:srgbClr val="C00000"/>
                </a:solidFill>
              </a:rPr>
              <a:t>кемшіліктер</a:t>
            </a:r>
            <a:r>
              <a:rPr lang="ru-RU" sz="900" b="1" u="sng" cap="all" dirty="0" smtClean="0">
                <a:solidFill>
                  <a:srgbClr val="C00000"/>
                </a:solidFill>
              </a:rPr>
              <a:t>: </a:t>
            </a:r>
            <a:endParaRPr lang="ru-RU" sz="900" b="1" u="sng" cap="all" dirty="0">
              <a:solidFill>
                <a:srgbClr val="C00000"/>
              </a:solidFill>
            </a:endParaRPr>
          </a:p>
          <a:p>
            <a:pPr>
              <a:defRPr/>
            </a:pPr>
            <a:endParaRPr lang="ru-RU" sz="900" b="1" u="sng" cap="all" dirty="0">
              <a:solidFill>
                <a:srgbClr val="C0000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Мемлекеттік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корпорацияның</a:t>
            </a:r>
            <a:r>
              <a:rPr lang="ru-RU" sz="900" dirty="0" smtClean="0">
                <a:solidFill>
                  <a:srgbClr val="002060"/>
                </a:solidFill>
              </a:rPr>
              <a:t> фронт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бэк-офистер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деңгейінд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функциялардың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қайталануы</a:t>
            </a:r>
            <a:endParaRPr lang="ru-RU" sz="900" b="1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b="1" dirty="0" smtClean="0">
                <a:solidFill>
                  <a:srgbClr val="002060"/>
                </a:solidFill>
              </a:rPr>
              <a:t>«</a:t>
            </a:r>
            <a:r>
              <a:rPr lang="ru-RU" sz="900" b="1" dirty="0" err="1" smtClean="0">
                <a:solidFill>
                  <a:srgbClr val="002060"/>
                </a:solidFill>
              </a:rPr>
              <a:t>Мүдделер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қақтығысы</a:t>
            </a:r>
            <a:r>
              <a:rPr lang="ru-RU" sz="900" b="1" dirty="0" smtClean="0">
                <a:solidFill>
                  <a:srgbClr val="002060"/>
                </a:solidFill>
              </a:rPr>
              <a:t>» </a:t>
            </a:r>
            <a:r>
              <a:rPr lang="ru-RU" sz="900" b="1" dirty="0">
                <a:solidFill>
                  <a:srgbClr val="002060"/>
                </a:solidFill>
              </a:rPr>
              <a:t>- </a:t>
            </a:r>
            <a:r>
              <a:rPr lang="ru-RU" sz="900" dirty="0">
                <a:solidFill>
                  <a:srgbClr val="002060"/>
                </a:solidFill>
              </a:rPr>
              <a:t>Департамент </a:t>
            </a:r>
            <a:r>
              <a:rPr lang="ru-RU" sz="900" dirty="0" err="1" smtClean="0">
                <a:solidFill>
                  <a:srgbClr val="002060"/>
                </a:solidFill>
              </a:rPr>
              <a:t>төлем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өз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тағайындайды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процест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өз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бақылайды</a:t>
            </a:r>
            <a:r>
              <a:rPr lang="ru-RU" sz="900" dirty="0" smtClean="0">
                <a:solidFill>
                  <a:srgbClr val="002060"/>
                </a:solidFill>
              </a:rPr>
              <a:t>;</a:t>
            </a:r>
            <a:endParaRPr lang="ru-RU" sz="900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Мемлекеттік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қызметтерді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синхронды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түрде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көрсетпеу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және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мониторингтің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болмауы</a:t>
            </a:r>
            <a:endParaRPr lang="ru-RU" sz="900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dirty="0" err="1" smtClean="0">
                <a:solidFill>
                  <a:srgbClr val="002060"/>
                </a:solidFill>
              </a:rPr>
              <a:t>Ақпарат</a:t>
            </a:r>
            <a:r>
              <a:rPr lang="ru-RU" sz="900" dirty="0" smtClean="0">
                <a:solidFill>
                  <a:srgbClr val="002060"/>
                </a:solidFill>
              </a:rPr>
              <a:t> пен </a:t>
            </a:r>
            <a:r>
              <a:rPr lang="ru-RU" sz="900" dirty="0" err="1" smtClean="0">
                <a:solidFill>
                  <a:srgbClr val="002060"/>
                </a:solidFill>
              </a:rPr>
              <a:t>ақша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dirty="0" err="1" smtClean="0">
                <a:solidFill>
                  <a:srgbClr val="002060"/>
                </a:solidFill>
              </a:rPr>
              <a:t>қаражатының</a:t>
            </a:r>
            <a:r>
              <a:rPr lang="ru-RU" sz="900" dirty="0" smtClean="0">
                <a:solidFill>
                  <a:srgbClr val="002060"/>
                </a:solidFill>
              </a:rPr>
              <a:t> </a:t>
            </a:r>
            <a:r>
              <a:rPr lang="ru-RU" sz="900" b="1" dirty="0" smtClean="0">
                <a:solidFill>
                  <a:srgbClr val="002060"/>
                </a:solidFill>
              </a:rPr>
              <a:t>«</a:t>
            </a:r>
            <a:r>
              <a:rPr lang="ru-RU" sz="900" b="1" dirty="0" err="1" smtClean="0">
                <a:solidFill>
                  <a:srgbClr val="002060"/>
                </a:solidFill>
              </a:rPr>
              <a:t>артық</a:t>
            </a:r>
            <a:r>
              <a:rPr lang="ru-RU" sz="900" b="1" dirty="0" smtClean="0">
                <a:solidFill>
                  <a:srgbClr val="002060"/>
                </a:solidFill>
              </a:rPr>
              <a:t> </a:t>
            </a:r>
            <a:r>
              <a:rPr lang="ru-RU" sz="900" b="1" dirty="0" err="1" smtClean="0">
                <a:solidFill>
                  <a:srgbClr val="002060"/>
                </a:solidFill>
              </a:rPr>
              <a:t>қозғалысы</a:t>
            </a:r>
            <a:r>
              <a:rPr lang="ru-RU" sz="900" b="1" dirty="0" smtClean="0">
                <a:solidFill>
                  <a:srgbClr val="002060"/>
                </a:solidFill>
              </a:rPr>
              <a:t>» </a:t>
            </a:r>
            <a:endParaRPr lang="ru-RU" sz="900" b="1" dirty="0">
              <a:solidFill>
                <a:srgbClr val="002060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87490054-B505-4431-981F-8402B0A83742}"/>
              </a:ext>
            </a:extLst>
          </p:cNvPr>
          <p:cNvSpPr/>
          <p:nvPr/>
        </p:nvSpPr>
        <p:spPr>
          <a:xfrm>
            <a:off x="7065169" y="3278981"/>
            <a:ext cx="1914525" cy="1944710"/>
          </a:xfrm>
          <a:prstGeom prst="rect">
            <a:avLst/>
          </a:prstGeom>
        </p:spPr>
        <p:txBody>
          <a:bodyPr lIns="51377" tIns="25691" rIns="51377" bIns="25691">
            <a:spAutoFit/>
          </a:bodyPr>
          <a:lstStyle/>
          <a:p>
            <a:pPr>
              <a:defRPr/>
            </a:pPr>
            <a:r>
              <a:rPr lang="ru-RU" sz="825" b="1" u="sng" cap="all" dirty="0" err="1" smtClean="0">
                <a:solidFill>
                  <a:srgbClr val="00B050"/>
                </a:solidFill>
              </a:rPr>
              <a:t>артықшылықтар</a:t>
            </a:r>
            <a:r>
              <a:rPr lang="ru-RU" sz="825" b="1" u="sng" cap="all" dirty="0" smtClean="0">
                <a:solidFill>
                  <a:srgbClr val="00B050"/>
                </a:solidFill>
              </a:rPr>
              <a:t>:</a:t>
            </a:r>
            <a:endParaRPr lang="ru-RU" sz="825" b="1" u="sng" cap="all" dirty="0">
              <a:solidFill>
                <a:srgbClr val="00B050"/>
              </a:solidFill>
            </a:endParaRPr>
          </a:p>
          <a:p>
            <a:pPr>
              <a:defRPr/>
            </a:pPr>
            <a:endParaRPr lang="ru-RU" sz="825" b="1" u="sng" cap="all" dirty="0">
              <a:solidFill>
                <a:srgbClr val="00B05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b="1" dirty="0" err="1" smtClean="0">
                <a:solidFill>
                  <a:srgbClr val="002060"/>
                </a:solidFill>
              </a:rPr>
              <a:t>Функцияларды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тиесілігі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бойынша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бөлу</a:t>
            </a:r>
            <a:endParaRPr lang="ru-RU" sz="825" b="1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dirty="0" smtClean="0">
                <a:solidFill>
                  <a:srgbClr val="002060"/>
                </a:solidFill>
              </a:rPr>
              <a:t>Бизнес-</a:t>
            </a:r>
            <a:r>
              <a:rPr lang="ru-RU" sz="825" dirty="0" err="1" smtClean="0">
                <a:solidFill>
                  <a:srgbClr val="002060"/>
                </a:solidFill>
              </a:rPr>
              <a:t>процестерді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оңтайландыру</a:t>
            </a:r>
            <a:r>
              <a:rPr lang="ru-RU" sz="825" dirty="0" smtClean="0">
                <a:solidFill>
                  <a:srgbClr val="002060"/>
                </a:solidFill>
              </a:rPr>
              <a:t>, </a:t>
            </a:r>
            <a:r>
              <a:rPr lang="ru-RU" sz="825" dirty="0" err="1" smtClean="0">
                <a:solidFill>
                  <a:srgbClr val="002060"/>
                </a:solidFill>
              </a:rPr>
              <a:t>бюрократияны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жою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және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мерзімді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қысқарту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арқылы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мемлекеттік</a:t>
            </a:r>
            <a:r>
              <a:rPr lang="ru-RU" sz="825" b="1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қызметтердің</a:t>
            </a:r>
            <a:r>
              <a:rPr lang="ru-RU" sz="825" b="1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сапасын</a:t>
            </a:r>
            <a:r>
              <a:rPr lang="ru-RU" sz="825" b="1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арттыру</a:t>
            </a:r>
            <a:r>
              <a:rPr lang="ru-RU" sz="825" b="1" dirty="0" smtClean="0">
                <a:solidFill>
                  <a:srgbClr val="002060"/>
                </a:solidFill>
              </a:rPr>
              <a:t> 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dirty="0" err="1" smtClean="0">
                <a:solidFill>
                  <a:srgbClr val="002060"/>
                </a:solidFill>
              </a:rPr>
              <a:t>Әлеуметтік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құқықтар</a:t>
            </a:r>
            <a:r>
              <a:rPr lang="ru-RU" sz="825" dirty="0" smtClean="0">
                <a:solidFill>
                  <a:srgbClr val="002060"/>
                </a:solidFill>
              </a:rPr>
              <a:t> мен </a:t>
            </a:r>
            <a:r>
              <a:rPr lang="ru-RU" sz="825" dirty="0" err="1" smtClean="0">
                <a:solidFill>
                  <a:srgbClr val="002060"/>
                </a:solidFill>
              </a:rPr>
              <a:t>кепілдіктерді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іске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асырудың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бірыңғай</a:t>
            </a:r>
            <a:r>
              <a:rPr lang="ru-RU" sz="825" b="1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мониторингі</a:t>
            </a:r>
            <a:endParaRPr lang="ru-RU" sz="825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dirty="0" err="1" smtClean="0">
                <a:solidFill>
                  <a:srgbClr val="002060"/>
                </a:solidFill>
              </a:rPr>
              <a:t>Әкімшілік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dirty="0" err="1" smtClean="0">
                <a:solidFill>
                  <a:srgbClr val="002060"/>
                </a:solidFill>
              </a:rPr>
              <a:t>шығыстарды</a:t>
            </a:r>
            <a:r>
              <a:rPr lang="ru-RU" sz="825" dirty="0" smtClean="0">
                <a:solidFill>
                  <a:srgbClr val="002060"/>
                </a:solidFill>
              </a:rPr>
              <a:t> </a:t>
            </a:r>
            <a:r>
              <a:rPr lang="ru-RU" sz="825" b="1" dirty="0" err="1" smtClean="0">
                <a:solidFill>
                  <a:srgbClr val="002060"/>
                </a:solidFill>
              </a:rPr>
              <a:t>үнемдеу</a:t>
            </a:r>
            <a:endParaRPr lang="ru-RU" sz="825" dirty="0">
              <a:solidFill>
                <a:srgbClr val="002060"/>
              </a:solidFill>
            </a:endParaRPr>
          </a:p>
        </p:txBody>
      </p:sp>
      <p:sp>
        <p:nvSpPr>
          <p:cNvPr id="26" name="Прямоугольник 1">
            <a:extLst>
              <a:ext uri="{FF2B5EF4-FFF2-40B4-BE49-F238E27FC236}">
                <a16:creationId xmlns:a16="http://schemas.microsoft.com/office/drawing/2014/main" xmlns="" id="{4E464A28-B034-45F2-B2E7-014F9F157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91" y="525066"/>
            <a:ext cx="1962150" cy="19038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lIns="51375" tIns="25691" rIns="51375" bIns="25691">
            <a:spAutoFit/>
          </a:bodyPr>
          <a:lstStyle/>
          <a:p>
            <a:pPr>
              <a:defRPr/>
            </a:pPr>
            <a:r>
              <a:rPr lang="kk-KZ" sz="900" b="1" dirty="0" smtClean="0">
                <a:solidFill>
                  <a:srgbClr val="FFFFFF"/>
                </a:solidFill>
              </a:rPr>
              <a:t>Қазіргі</a:t>
            </a:r>
            <a:r>
              <a:rPr lang="kk-KZ" sz="900" b="1" dirty="0" smtClean="0">
                <a:solidFill>
                  <a:prstClr val="black"/>
                </a:solidFill>
              </a:rPr>
              <a:t> </a:t>
            </a:r>
            <a:r>
              <a:rPr lang="kk-KZ" sz="900" b="1" dirty="0">
                <a:solidFill>
                  <a:srgbClr val="FFFFFF"/>
                </a:solidFill>
              </a:rPr>
              <a:t>процесс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9237" name="Прямоугольник 1">
            <a:extLst>
              <a:ext uri="{FF2B5EF4-FFF2-40B4-BE49-F238E27FC236}">
                <a16:creationId xmlns:a16="http://schemas.microsoft.com/office/drawing/2014/main" xmlns="" id="{DE828960-252D-430D-A95F-6F041CF01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91" y="2655094"/>
            <a:ext cx="1962150" cy="213466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75" tIns="25691" rIns="51375" bIns="25691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kk-KZ" altLang="ru-RU" sz="1050" b="1" dirty="0" smtClean="0">
                <a:solidFill>
                  <a:srgbClr val="FFFFFF"/>
                </a:solidFill>
              </a:rPr>
              <a:t>Ұсынылатын </a:t>
            </a:r>
            <a:r>
              <a:rPr lang="kk-KZ" altLang="ru-RU" sz="1050" b="1" dirty="0">
                <a:solidFill>
                  <a:srgbClr val="FFFFFF"/>
                </a:solidFill>
              </a:rPr>
              <a:t>процесс</a:t>
            </a:r>
            <a:endParaRPr lang="ru-RU" altLang="ru-RU" sz="105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500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xmlns="" id="{6F72F3D3-A30A-4246-871A-ECE6771259D8}"/>
              </a:ext>
            </a:extLst>
          </p:cNvPr>
          <p:cNvSpPr txBox="1">
            <a:spLocks/>
          </p:cNvSpPr>
          <p:nvPr/>
        </p:nvSpPr>
        <p:spPr>
          <a:xfrm>
            <a:off x="282106" y="92827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kk-KZ" sz="20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 КОДЕКСТІҢ ТҰЖЫРЫМДАМАСЫН ӘЗІРЛЕУ</a:t>
            </a:r>
            <a:endParaRPr lang="ru-RU" sz="20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B8C5339-3481-4B31-8476-A4DE888EF66F}"/>
              </a:ext>
            </a:extLst>
          </p:cNvPr>
          <p:cNvSpPr txBox="1"/>
          <p:nvPr/>
        </p:nvSpPr>
        <p:spPr>
          <a:xfrm>
            <a:off x="466546" y="795928"/>
            <a:ext cx="1448108" cy="369217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8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Негіз</a:t>
            </a:r>
            <a:endParaRPr lang="ru-RU" sz="14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4B9654B7-F6BD-4BA3-95CF-F481771C9A3A}"/>
              </a:ext>
            </a:extLst>
          </p:cNvPr>
          <p:cNvSpPr/>
          <p:nvPr/>
        </p:nvSpPr>
        <p:spPr>
          <a:xfrm>
            <a:off x="1914669" y="612030"/>
            <a:ext cx="6923807" cy="1092492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/>
            <a:r>
              <a:rPr lang="ru-RU" dirty="0" err="1" smtClean="0">
                <a:solidFill>
                  <a:srgbClr val="002060"/>
                </a:solidFill>
              </a:rPr>
              <a:t>Әлеуметтік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қамсыздандыру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үйесі</a:t>
            </a:r>
            <a:r>
              <a:rPr lang="ru-RU" dirty="0" smtClean="0">
                <a:solidFill>
                  <a:srgbClr val="002060"/>
                </a:solidFill>
              </a:rPr>
              <a:t> 17 </a:t>
            </a:r>
            <a:r>
              <a:rPr lang="ru-RU" dirty="0" err="1" smtClean="0">
                <a:solidFill>
                  <a:srgbClr val="002060"/>
                </a:solidFill>
              </a:rPr>
              <a:t>заңме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әне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ондаға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заңға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тәуелді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актіме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регламенттеледі</a:t>
            </a:r>
            <a:r>
              <a:rPr lang="ru-RU" dirty="0" smtClean="0">
                <a:solidFill>
                  <a:srgbClr val="002060"/>
                </a:solidFill>
              </a:rPr>
              <a:t>. </a:t>
            </a:r>
            <a:r>
              <a:rPr lang="ru-RU" dirty="0" err="1" smtClean="0">
                <a:solidFill>
                  <a:srgbClr val="002060"/>
                </a:solidFill>
              </a:rPr>
              <a:t>Бұл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реттеуді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қиындығына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әне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ытыраңқылығына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алып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келді</a:t>
            </a:r>
            <a:r>
              <a:rPr lang="ru-RU" dirty="0" smtClean="0">
                <a:solidFill>
                  <a:srgbClr val="002060"/>
                </a:solidFill>
              </a:rPr>
              <a:t>. </a:t>
            </a:r>
            <a:r>
              <a:rPr lang="ru-RU" dirty="0" err="1" smtClean="0">
                <a:solidFill>
                  <a:srgbClr val="002060"/>
                </a:solidFill>
              </a:rPr>
              <a:t>Нәтижесі</a:t>
            </a:r>
            <a:r>
              <a:rPr lang="ru-RU" dirty="0" smtClean="0">
                <a:solidFill>
                  <a:srgbClr val="002060"/>
                </a:solidFill>
              </a:rPr>
              <a:t> – </a:t>
            </a:r>
            <a:r>
              <a:rPr lang="ru-RU" dirty="0" err="1" smtClean="0">
                <a:solidFill>
                  <a:srgbClr val="002060"/>
                </a:solidFill>
              </a:rPr>
              <a:t>мемлекет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жауапкершілігіні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айқы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болмауы</a:t>
            </a:r>
            <a:r>
              <a:rPr lang="ru-RU" dirty="0" smtClean="0">
                <a:solidFill>
                  <a:srgbClr val="002060"/>
                </a:solidFill>
              </a:rPr>
              <a:t>, </a:t>
            </a:r>
            <a:r>
              <a:rPr lang="ru-RU" dirty="0" err="1" smtClean="0">
                <a:solidFill>
                  <a:srgbClr val="002060"/>
                </a:solidFill>
              </a:rPr>
              <a:t>азаматтардың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өз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құқықтарын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err="1" smtClean="0">
                <a:solidFill>
                  <a:srgbClr val="002060"/>
                </a:solidFill>
              </a:rPr>
              <a:t>түсінбеуі</a:t>
            </a:r>
            <a:r>
              <a:rPr lang="ru-RU" dirty="0" smtClean="0">
                <a:solidFill>
                  <a:srgbClr val="002060"/>
                </a:solidFill>
              </a:rPr>
              <a:t>. </a:t>
            </a: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b="1" dirty="0" err="1" smtClean="0">
                <a:solidFill>
                  <a:srgbClr val="002060"/>
                </a:solidFill>
              </a:rPr>
              <a:t>Үкіметке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елдің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Әлеуметтік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кодексін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әзірлеуге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кірісуді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тапсырамын</a:t>
            </a:r>
            <a:r>
              <a:rPr lang="ru-RU" b="1" dirty="0" smtClean="0">
                <a:solidFill>
                  <a:srgbClr val="002060"/>
                </a:solidFill>
              </a:rPr>
              <a:t>. </a:t>
            </a:r>
            <a:endParaRPr lang="ru-RU" b="1" dirty="0">
              <a:solidFill>
                <a:srgbClr val="002060"/>
              </a:solidFill>
            </a:endParaRPr>
          </a:p>
          <a:p>
            <a:pPr algn="r">
              <a:spcBef>
                <a:spcPts val="600"/>
              </a:spcBef>
            </a:pPr>
            <a:r>
              <a:rPr lang="ru-RU" b="1" dirty="0">
                <a:solidFill>
                  <a:srgbClr val="002060"/>
                </a:solidFill>
              </a:rPr>
              <a:t>Президент </a:t>
            </a:r>
            <a:r>
              <a:rPr lang="ru-RU" b="1" dirty="0" err="1" smtClean="0">
                <a:solidFill>
                  <a:srgbClr val="002060"/>
                </a:solidFill>
              </a:rPr>
              <a:t>Қ.К.Тоқаевтың</a:t>
            </a:r>
            <a:r>
              <a:rPr lang="ru-RU" b="1" dirty="0" smtClean="0">
                <a:solidFill>
                  <a:srgbClr val="002060"/>
                </a:solidFill>
              </a:rPr>
              <a:t> 2020 </a:t>
            </a:r>
            <a:r>
              <a:rPr lang="ru-RU" b="1" dirty="0" err="1" smtClean="0">
                <a:solidFill>
                  <a:srgbClr val="002060"/>
                </a:solidFill>
              </a:rPr>
              <a:t>жылғы</a:t>
            </a:r>
            <a:r>
              <a:rPr lang="ru-RU" b="1" dirty="0" smtClean="0">
                <a:solidFill>
                  <a:srgbClr val="002060"/>
                </a:solidFill>
              </a:rPr>
              <a:t> 1 </a:t>
            </a:r>
            <a:r>
              <a:rPr lang="ru-RU" b="1" dirty="0" err="1" smtClean="0">
                <a:solidFill>
                  <a:srgbClr val="002060"/>
                </a:solidFill>
              </a:rPr>
              <a:t>қыркүйектегі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Қазақстан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халқына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</a:rPr>
              <a:t>Жолдауы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1583830-D809-4E74-8FF3-A71F7CA6DF70}"/>
              </a:ext>
            </a:extLst>
          </p:cNvPr>
          <p:cNvSpPr txBox="1"/>
          <p:nvPr/>
        </p:nvSpPr>
        <p:spPr>
          <a:xfrm>
            <a:off x="2355169" y="1991327"/>
            <a:ext cx="1630380" cy="1384879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4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500</a:t>
            </a:r>
            <a:r>
              <a:rPr lang="ru-RU" sz="2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-</a:t>
            </a:r>
            <a:r>
              <a:rPr lang="ru-RU" sz="16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ден</a:t>
            </a:r>
          </a:p>
          <a:p>
            <a:pPr algn="ctr" defTabSz="821995"/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стам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ұсыныс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үсті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2B5F3BF-661B-4F06-8C54-5C2C21D6A4C5}"/>
              </a:ext>
            </a:extLst>
          </p:cNvPr>
          <p:cNvSpPr txBox="1"/>
          <p:nvPr/>
        </p:nvSpPr>
        <p:spPr>
          <a:xfrm>
            <a:off x="335525" y="1980161"/>
            <a:ext cx="1448108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4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0</a:t>
            </a:r>
            <a:endParaRPr lang="ru-RU" sz="4000" b="1" kern="1000" dirty="0">
              <a:solidFill>
                <a:srgbClr val="00B05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  <a:p>
            <a:pPr algn="ctr" defTabSz="821995"/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рыс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өткізілді</a:t>
            </a:r>
            <a:endParaRPr lang="ru-RU" sz="11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5C0A5B1-DEA7-43E8-8E8B-0277F738B124}"/>
              </a:ext>
            </a:extLst>
          </p:cNvPr>
          <p:cNvSpPr txBox="1"/>
          <p:nvPr/>
        </p:nvSpPr>
        <p:spPr>
          <a:xfrm>
            <a:off x="4223872" y="1991333"/>
            <a:ext cx="1895333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4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0</a:t>
            </a:r>
            <a:r>
              <a:rPr lang="ru-RU" sz="2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-</a:t>
            </a:r>
            <a:r>
              <a:rPr lang="ru-RU" sz="2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дан</a:t>
            </a:r>
          </a:p>
          <a:p>
            <a:pPr algn="ctr" defTabSz="821995"/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ртық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аң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ерделенді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9C06DBC-F5A6-420F-BB5C-96563D7D3C6E}"/>
              </a:ext>
            </a:extLst>
          </p:cNvPr>
          <p:cNvSpPr txBox="1"/>
          <p:nvPr/>
        </p:nvSpPr>
        <p:spPr>
          <a:xfrm>
            <a:off x="6712980" y="1991333"/>
            <a:ext cx="1938510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аңға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әуелді</a:t>
            </a:r>
            <a:endParaRPr lang="ru-RU" sz="1400" kern="10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algn="ctr" defTabSz="821995"/>
            <a:r>
              <a:rPr lang="ru-RU" sz="40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50</a:t>
            </a:r>
            <a:r>
              <a:rPr lang="ru-RU" sz="18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-</a:t>
            </a:r>
            <a:r>
              <a:rPr lang="ru-RU" sz="18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ден</a:t>
            </a:r>
          </a:p>
          <a:p>
            <a:pPr algn="ctr" defTabSz="821995"/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стам</a:t>
            </a:r>
            <a:r>
              <a:rPr lang="ru-RU" sz="14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кт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ерделенді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xmlns="" id="{7E4EEA1C-F89B-4E8D-BFDD-F12F51A36A13}"/>
              </a:ext>
            </a:extLst>
          </p:cNvPr>
          <p:cNvSpPr txBox="1"/>
          <p:nvPr/>
        </p:nvSpPr>
        <p:spPr>
          <a:xfrm>
            <a:off x="310786" y="4127522"/>
            <a:ext cx="2116456" cy="738651"/>
          </a:xfrm>
          <a:prstGeom prst="rect">
            <a:avLst/>
          </a:prstGeom>
          <a:ln w="3175">
            <a:solidFill>
              <a:srgbClr val="0070C0"/>
            </a:solidFill>
            <a:prstDash val="sysDash"/>
          </a:ln>
        </p:spPr>
        <p:txBody>
          <a:bodyPr vert="horz" wrap="square" lIns="0" tIns="12689" rIns="0" bIns="0" rtlCol="0">
            <a:noAutofit/>
          </a:bodyPr>
          <a:lstStyle/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dirty="0" err="1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Х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алықтың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әлеуметтік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заңнаманы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түсінуіндегі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қиындықтар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8D0329F-5A33-4CFD-B1A5-FEDEB8275F08}"/>
              </a:ext>
            </a:extLst>
          </p:cNvPr>
          <p:cNvSpPr/>
          <p:nvPr/>
        </p:nvSpPr>
        <p:spPr>
          <a:xfrm>
            <a:off x="2683569" y="4127522"/>
            <a:ext cx="1829670" cy="523105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spcAft>
                <a:spcPts val="378"/>
              </a:spcAft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cap="all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НҚА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мазмұнының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түрлі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стилі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0C66BBA7-4060-4D8E-BEB3-8F036E77E996}"/>
              </a:ext>
            </a:extLst>
          </p:cNvPr>
          <p:cNvSpPr/>
          <p:nvPr/>
        </p:nvSpPr>
        <p:spPr>
          <a:xfrm>
            <a:off x="4750510" y="4116104"/>
            <a:ext cx="1756114" cy="738549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spcAft>
                <a:spcPts val="378"/>
              </a:spcAft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dirty="0" err="1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Т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үрлі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НҚА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нормаларының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қайталануы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885D4D91-B9FC-427B-B4A5-0F3D6C080081}"/>
              </a:ext>
            </a:extLst>
          </p:cNvPr>
          <p:cNvSpPr/>
          <p:nvPr/>
        </p:nvSpPr>
        <p:spPr>
          <a:xfrm>
            <a:off x="6736128" y="4116106"/>
            <a:ext cx="2216341" cy="953992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dirty="0" err="1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Ә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леуметтік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құқықтарға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</a:t>
            </a:r>
            <a:r>
              <a:rPr lang="ru-RU" sz="1400" b="1" dirty="0" err="1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қатысты</a:t>
            </a:r>
            <a:r>
              <a:rPr lang="ru-RU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 </a:t>
            </a:r>
          </a:p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kk-KZ" sz="1400" b="1" dirty="0" smtClean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нормалардың бытыраңқылығы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369610FB-FCC1-4D4D-A6F8-D33F9584143E}"/>
              </a:ext>
            </a:extLst>
          </p:cNvPr>
          <p:cNvSpPr/>
          <p:nvPr/>
        </p:nvSpPr>
        <p:spPr>
          <a:xfrm>
            <a:off x="288073" y="622327"/>
            <a:ext cx="178481" cy="982717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5" tIns="45663" rIns="91335" bIns="45663"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5" name="Группа 31">
            <a:extLst>
              <a:ext uri="{FF2B5EF4-FFF2-40B4-BE49-F238E27FC236}">
                <a16:creationId xmlns:a16="http://schemas.microsoft.com/office/drawing/2014/main" xmlns="" id="{4B31A1B8-ECEE-4740-9B20-D5BDDE989189}"/>
              </a:ext>
            </a:extLst>
          </p:cNvPr>
          <p:cNvGrpSpPr/>
          <p:nvPr/>
        </p:nvGrpSpPr>
        <p:grpSpPr>
          <a:xfrm rot="5400000">
            <a:off x="4515936" y="2105436"/>
            <a:ext cx="247682" cy="2938836"/>
            <a:chOff x="4102373" y="1907101"/>
            <a:chExt cx="425450" cy="517525"/>
          </a:xfrm>
        </p:grpSpPr>
        <p:sp>
          <p:nvSpPr>
            <p:cNvPr id="16" name="Chevron2">
              <a:extLst>
                <a:ext uri="{FF2B5EF4-FFF2-40B4-BE49-F238E27FC236}">
                  <a16:creationId xmlns:a16="http://schemas.microsoft.com/office/drawing/2014/main" xmlns="" id="{EEA5D515-5E91-45B3-945E-FABFCED519E7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102373" y="1938850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1217715">
                <a:defRPr/>
              </a:pPr>
              <a:endParaRPr lang="en-US" sz="1700" dirty="0" err="1"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7" name="Chevron2">
              <a:extLst>
                <a:ext uri="{FF2B5EF4-FFF2-40B4-BE49-F238E27FC236}">
                  <a16:creationId xmlns:a16="http://schemas.microsoft.com/office/drawing/2014/main" xmlns="" id="{CC28687B-DE04-463B-8BCD-7F978275B8B6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270648" y="1907101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1217715">
                <a:defRPr/>
              </a:pPr>
              <a:endParaRPr lang="en-US" sz="1700" dirty="0" err="1"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18" name="object 121">
            <a:extLst>
              <a:ext uri="{FF2B5EF4-FFF2-40B4-BE49-F238E27FC236}">
                <a16:creationId xmlns:a16="http://schemas.microsoft.com/office/drawing/2014/main" xmlns="" id="{25E06892-8E9A-4C45-BF37-4ABEE121D3E7}"/>
              </a:ext>
            </a:extLst>
          </p:cNvPr>
          <p:cNvSpPr/>
          <p:nvPr/>
        </p:nvSpPr>
        <p:spPr>
          <a:xfrm>
            <a:off x="288064" y="480682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B7981C8-D543-4BBF-AD08-32F5593505BE}"/>
              </a:ext>
            </a:extLst>
          </p:cNvPr>
          <p:cNvSpPr txBox="1"/>
          <p:nvPr/>
        </p:nvSpPr>
        <p:spPr>
          <a:xfrm>
            <a:off x="3546389" y="3649157"/>
            <a:ext cx="19500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ПРОБЛЕМАЛАР:</a:t>
            </a:r>
            <a:endParaRPr lang="ru-RU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3768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323">
            <a:extLst>
              <a:ext uri="{FF2B5EF4-FFF2-40B4-BE49-F238E27FC236}">
                <a16:creationId xmlns="" xmlns:a16="http://schemas.microsoft.com/office/drawing/2014/main" id="{3B6404B7-A8D2-4E1D-A437-6E524585E52C}"/>
              </a:ext>
            </a:extLst>
          </p:cNvPr>
          <p:cNvSpPr>
            <a:spLocks/>
          </p:cNvSpPr>
          <p:nvPr/>
        </p:nvSpPr>
        <p:spPr bwMode="gray">
          <a:xfrm>
            <a:off x="313305" y="1546863"/>
            <a:ext cx="8517390" cy="308228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0BCB292D-5050-4F54-BA28-C7DE41D4B5D7}"/>
              </a:ext>
            </a:extLst>
          </p:cNvPr>
          <p:cNvSpPr/>
          <p:nvPr/>
        </p:nvSpPr>
        <p:spPr>
          <a:xfrm>
            <a:off x="318375" y="747732"/>
            <a:ext cx="8507250" cy="5601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618FC001-2788-4130-8406-E22AAFF837A3}"/>
              </a:ext>
            </a:extLst>
          </p:cNvPr>
          <p:cNvSpPr/>
          <p:nvPr/>
        </p:nvSpPr>
        <p:spPr>
          <a:xfrm>
            <a:off x="0" y="0"/>
            <a:ext cx="9144000" cy="472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2" tIns="25718" rIns="51432" bIns="25718" anchor="ctr"/>
          <a:lstStyle/>
          <a:p>
            <a:pPr algn="ctr" defTabSz="513653">
              <a:buClr>
                <a:srgbClr val="0070CE"/>
              </a:buClr>
              <a:buSzPct val="100000"/>
              <a:defRPr/>
            </a:pPr>
            <a:r>
              <a:rPr lang="ru-RU" sz="2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і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дан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летін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endParaRPr lang="ru-RU" altLang="ru-RU" sz="23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3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Прямоугольник 7"/>
          <p:cNvSpPr/>
          <p:nvPr/>
        </p:nvSpPr>
        <p:spPr>
          <a:xfrm>
            <a:off x="318374" y="735691"/>
            <a:ext cx="76381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жырымдаманы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рі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2021-2022 </a:t>
            </a:r>
            <a:r>
              <a:rPr lang="ru-RU" sz="1400" b="1" kern="1000" dirty="0" err="1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жж</a:t>
            </a:r>
            <a:r>
              <a:rPr lang="ru-RU" sz="14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н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у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2023 </a:t>
            </a:r>
            <a:r>
              <a:rPr lang="ru-RU" sz="14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ж.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і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13">
            <a:extLst>
              <a:ext uri="{FF2B5EF4-FFF2-40B4-BE49-F238E27FC236}">
                <a16:creationId xmlns="" xmlns:a16="http://schemas.microsoft.com/office/drawing/2014/main" id="{125256F6-1B03-46D1-9798-9AF94BFDF1FE}"/>
              </a:ext>
            </a:extLst>
          </p:cNvPr>
          <p:cNvSpPr/>
          <p:nvPr/>
        </p:nvSpPr>
        <p:spPr>
          <a:xfrm>
            <a:off x="484910" y="1564293"/>
            <a:ext cx="8345786" cy="31854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заматтардың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өздерінің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ұқықтары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ен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епілдіктері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уралы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ірыңғай</a:t>
            </a:r>
            <a:r>
              <a:rPr lang="ru-RU" sz="14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ілім</a:t>
            </a:r>
            <a:r>
              <a:rPr lang="ru-RU" sz="14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зін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ұру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нормалардың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йталануы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мен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ұрмалануын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ою</a:t>
            </a:r>
            <a:endParaRPr lang="en-US" sz="1400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-ауқатының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000" cap="all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втоматтандырылған</a:t>
            </a:r>
            <a:r>
              <a:rPr lang="ru-RU" altLang="ru-RU" sz="1400" b="1" kern="1000" cap="all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altLang="ru-RU" sz="1400" b="1" kern="1000" cap="all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ониторингі</a:t>
            </a:r>
            <a:r>
              <a:rPr lang="ru-RU" altLang="ru-RU" sz="1400" b="1" kern="1000" cap="all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ұқықтар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мен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епілдіктерді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мтамасыз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ту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ойынша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ЛДЫН АЛУ ШАРАЛАРЫН ҚАБЫЛДАУ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alt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Азаматтардың</a:t>
            </a:r>
            <a:r>
              <a:rPr lang="ru-RU" alt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 </a:t>
            </a:r>
            <a:r>
              <a:rPr lang="ru-RU" altLang="ru-RU" sz="14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ӘЛЕУМЕТТІК ЖАҒЫНАН ҚОРҒАЛУЫН </a:t>
            </a:r>
            <a:r>
              <a:rPr lang="ru-RU" alt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арттыру</a:t>
            </a:r>
            <a:endParaRPr lang="ru-RU" sz="1400" b="1" kern="1000" dirty="0" smtClean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ызметтерді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ЭЛЕКТРОНДЫҚ ЖӘНЕ ПРОАКТИВТІ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форматта</a:t>
            </a: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рсету</a:t>
            </a:r>
            <a:endParaRPr lang="ru-RU" sz="1400" b="1" kern="1000" dirty="0" smtClean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kk-KZ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емлекеттік қызметтер көрсеткен кездегі </a:t>
            </a:r>
            <a:r>
              <a:rPr lang="kk-KZ" sz="1400" b="1" kern="1000" cap="all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«Мүдделер қақтығысын» </a:t>
            </a:r>
            <a:r>
              <a:rPr lang="kk-KZ" sz="14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жою, әлеуметтік институттардың әкімшілік шығыстарына арналған бюджет қаражатын </a:t>
            </a:r>
            <a:r>
              <a:rPr lang="kk-KZ" sz="1400" b="1" kern="1000" cap="all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үнемде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300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xmlns="" id="{1B0C5B2D-13C8-452A-9D72-86DE63B682AC}"/>
              </a:ext>
            </a:extLst>
          </p:cNvPr>
          <p:cNvSpPr txBox="1">
            <a:spLocks/>
          </p:cNvSpPr>
          <p:nvPr/>
        </p:nvSpPr>
        <p:spPr>
          <a:xfrm>
            <a:off x="248074" y="135566"/>
            <a:ext cx="8668635" cy="253851"/>
          </a:xfrm>
          <a:prstGeom prst="rect">
            <a:avLst/>
          </a:prstGeom>
        </p:spPr>
        <p:txBody>
          <a:bodyPr vert="horz" wrap="square" lIns="0" tIns="7556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7556" algn="ctr" defTabSz="543868">
              <a:spcBef>
                <a:spcPts val="59"/>
              </a:spcBef>
            </a:pPr>
            <a:r>
              <a:rPr lang="ru-RU" sz="16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6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наманы</a:t>
            </a:r>
            <a:r>
              <a:rPr lang="ru-RU" sz="16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ттеудегі</a:t>
            </a:r>
            <a:r>
              <a:rPr lang="ru-RU" sz="16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аралық</a:t>
            </a:r>
            <a:r>
              <a:rPr lang="ru-RU" sz="1600" cap="all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cap="all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жірибе</a:t>
            </a:r>
            <a:endParaRPr lang="ru-RU" sz="16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object 121">
            <a:extLst>
              <a:ext uri="{FF2B5EF4-FFF2-40B4-BE49-F238E27FC236}">
                <a16:creationId xmlns:a16="http://schemas.microsoft.com/office/drawing/2014/main" xmlns="" id="{CE8B6B77-5D63-4C11-8FE9-97F06F61F827}"/>
              </a:ext>
            </a:extLst>
          </p:cNvPr>
          <p:cNvSpPr/>
          <p:nvPr/>
        </p:nvSpPr>
        <p:spPr>
          <a:xfrm>
            <a:off x="491841" y="437530"/>
            <a:ext cx="8215745" cy="134050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543868">
              <a:defRPr/>
            </a:pPr>
            <a:endParaRPr sz="90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F16F8DF-F182-42C3-93E8-88888D44E4E7}"/>
              </a:ext>
            </a:extLst>
          </p:cNvPr>
          <p:cNvSpPr txBox="1"/>
          <p:nvPr/>
        </p:nvSpPr>
        <p:spPr>
          <a:xfrm>
            <a:off x="353390" y="1320156"/>
            <a:ext cx="2870629" cy="561605"/>
          </a:xfrm>
          <a:prstGeom prst="rect">
            <a:avLst/>
          </a:prstGeom>
          <a:noFill/>
        </p:spPr>
        <p:txBody>
          <a:bodyPr wrap="square" lIns="68501" tIns="34247" rIns="68501" bIns="34247" rtlCol="0">
            <a:spAutoFit/>
          </a:bodyPr>
          <a:lstStyle/>
          <a:p>
            <a:pPr algn="ctr" defTabSz="616496"/>
            <a:r>
              <a:rPr lang="ru-RU" sz="1600" b="1" kern="1000" dirty="0" err="1">
                <a:solidFill>
                  <a:srgbClr val="002060"/>
                </a:solidFill>
                <a:ea typeface="ＭＳ Ｐゴシック"/>
                <a:cs typeface="Arial" pitchFamily="34" charset="0"/>
              </a:rPr>
              <a:t>Х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алықаралық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актілер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қолданылады</a:t>
            </a:r>
            <a:endParaRPr lang="ru-RU" sz="1600" b="1" kern="1000" dirty="0">
              <a:solidFill>
                <a:srgbClr val="002060"/>
              </a:solidFill>
              <a:ea typeface="ＭＳ Ｐゴシック"/>
              <a:cs typeface="Arial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1A76CF81-DE3C-4B4D-A8E5-C7C62059C9A4}"/>
              </a:ext>
            </a:extLst>
          </p:cNvPr>
          <p:cNvSpPr/>
          <p:nvPr/>
        </p:nvSpPr>
        <p:spPr>
          <a:xfrm>
            <a:off x="3722783" y="1008002"/>
            <a:ext cx="52255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6496"/>
            <a:r>
              <a:rPr lang="ru-RU" sz="16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1.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Еуропалық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амсыздандыру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дексі</a:t>
            </a:r>
            <a:endParaRPr lang="ru-RU" sz="1600" b="1" kern="1000" dirty="0" smtClean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defTabSz="616496"/>
            <a:endParaRPr lang="ru-RU" sz="1600" b="1" kern="1000" dirty="0" smtClean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defTabSz="616496"/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. ХЕҰ-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ның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«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амсыздандырудың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ең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өмен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нормалары</a:t>
            </a:r>
            <a:r>
              <a:rPr lang="ru-RU" sz="1600" b="1" kern="10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уралы</a:t>
            </a:r>
            <a:r>
              <a:rPr lang="ru-RU" sz="16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» №102 </a:t>
            </a:r>
            <a:r>
              <a:rPr lang="ru-RU" sz="1600" b="1" kern="10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нвенциясы</a:t>
            </a:r>
            <a:endParaRPr lang="ru-RU" sz="1600" b="1" kern="1000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" name="object 121">
            <a:extLst>
              <a:ext uri="{FF2B5EF4-FFF2-40B4-BE49-F238E27FC236}">
                <a16:creationId xmlns:a16="http://schemas.microsoft.com/office/drawing/2014/main" xmlns="" id="{BA120F9A-5B44-4ACC-8FD2-416DF296B4B1}"/>
              </a:ext>
            </a:extLst>
          </p:cNvPr>
          <p:cNvSpPr/>
          <p:nvPr/>
        </p:nvSpPr>
        <p:spPr>
          <a:xfrm>
            <a:off x="1426586" y="2713429"/>
            <a:ext cx="6373385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543868">
              <a:defRPr/>
            </a:pPr>
            <a:endParaRPr sz="90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3FB1420-895E-48B6-BC48-03BDBDE925AC}"/>
              </a:ext>
            </a:extLst>
          </p:cNvPr>
          <p:cNvSpPr txBox="1"/>
          <p:nvPr/>
        </p:nvSpPr>
        <p:spPr>
          <a:xfrm>
            <a:off x="387809" y="3154497"/>
            <a:ext cx="3065371" cy="561605"/>
          </a:xfrm>
          <a:prstGeom prst="rect">
            <a:avLst/>
          </a:prstGeom>
          <a:noFill/>
        </p:spPr>
        <p:txBody>
          <a:bodyPr wrap="square" lIns="68501" tIns="34247" rIns="68501" bIns="34247" rtlCol="0">
            <a:spAutoFit/>
          </a:bodyPr>
          <a:lstStyle/>
          <a:p>
            <a:pPr algn="ctr" defTabSz="616496"/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Бірқатар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елдерде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әлеуметтік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кодекстер</a:t>
            </a:r>
            <a:r>
              <a:rPr lang="ru-RU" sz="1600" b="1" kern="1000" dirty="0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қабылданған</a:t>
            </a:r>
            <a:endParaRPr lang="ru-RU" sz="1600" b="1" kern="1000" dirty="0">
              <a:solidFill>
                <a:srgbClr val="002060"/>
              </a:solidFill>
              <a:ea typeface="ＭＳ Ｐゴシック"/>
              <a:cs typeface="Arial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63519616-E59A-47E6-B030-3AD1F22B1B57}"/>
              </a:ext>
            </a:extLst>
          </p:cNvPr>
          <p:cNvSpPr/>
          <p:nvPr/>
        </p:nvSpPr>
        <p:spPr>
          <a:xfrm>
            <a:off x="3754795" y="3162016"/>
            <a:ext cx="52255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6496"/>
            <a:r>
              <a:rPr lang="ru-RU" altLang="ru-RU" sz="1600" b="1" kern="1000" dirty="0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Германия, Франция, </a:t>
            </a:r>
            <a:r>
              <a:rPr lang="ru-RU" altLang="ru-RU" sz="1600" b="1" kern="1000" dirty="0" err="1" smtClean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Индияда</a:t>
            </a:r>
            <a:endParaRPr lang="ru-RU" sz="1600" b="1" kern="1000" dirty="0">
              <a:solidFill>
                <a:srgbClr val="00B05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0" name="object 84">
            <a:extLst>
              <a:ext uri="{FF2B5EF4-FFF2-40B4-BE49-F238E27FC236}">
                <a16:creationId xmlns:a16="http://schemas.microsoft.com/office/drawing/2014/main" xmlns="" id="{9BBB6D0A-FCFF-4268-96F7-EE6E99E6B32F}"/>
              </a:ext>
            </a:extLst>
          </p:cNvPr>
          <p:cNvSpPr/>
          <p:nvPr/>
        </p:nvSpPr>
        <p:spPr>
          <a:xfrm>
            <a:off x="623455" y="4510164"/>
            <a:ext cx="7917874" cy="386314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 defTabSz="913329">
              <a:buClrTx/>
              <a:defRPr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5E249C86-4726-4EC8-8571-BFCF804717E3}"/>
              </a:ext>
            </a:extLst>
          </p:cNvPr>
          <p:cNvSpPr/>
          <p:nvPr/>
        </p:nvSpPr>
        <p:spPr>
          <a:xfrm>
            <a:off x="0" y="4558234"/>
            <a:ext cx="9143999" cy="276884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талға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ктілерме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реттелетін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оғамдық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тынастардың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ізбесі</a:t>
            </a:r>
            <a:r>
              <a:rPr lang="ru-RU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b="1" kern="1000" dirty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БІРКЕЛКІ БОЛЫП </a:t>
            </a:r>
            <a:r>
              <a:rPr lang="ru-RU" b="1" kern="1000" dirty="0" smtClean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АБЫЛМАЙДЫ</a:t>
            </a:r>
            <a:endParaRPr lang="ru-RU" b="1" kern="1000" dirty="0">
              <a:solidFill>
                <a:srgbClr val="FF000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325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Блок-схема: задержка 32">
            <a:extLst>
              <a:ext uri="{FF2B5EF4-FFF2-40B4-BE49-F238E27FC236}">
                <a16:creationId xmlns=""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1485417" y="2873220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bject 4"/>
          <p:cNvSpPr txBox="1">
            <a:spLocks/>
          </p:cNvSpPr>
          <p:nvPr/>
        </p:nvSpPr>
        <p:spPr>
          <a:xfrm>
            <a:off x="2" y="52389"/>
            <a:ext cx="9143999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саладағы</a:t>
            </a:r>
            <a:r>
              <a:rPr 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ғаламдық</a:t>
            </a:r>
            <a:r>
              <a:rPr 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сын-</a:t>
            </a: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қатерлер</a:t>
            </a:r>
            <a:endParaRPr lang="ru-RU" sz="2300" b="1" kern="1200" dirty="0">
              <a:solidFill>
                <a:srgbClr val="00206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73" name="Rectangle 323"/>
          <p:cNvSpPr>
            <a:spLocks/>
          </p:cNvSpPr>
          <p:nvPr/>
        </p:nvSpPr>
        <p:spPr bwMode="gray">
          <a:xfrm>
            <a:off x="585486" y="612624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Ғаламдық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оқиғалардың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тәуекелдері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мен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салдарлары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Rectangle 323"/>
          <p:cNvSpPr>
            <a:spLocks/>
          </p:cNvSpPr>
          <p:nvPr/>
        </p:nvSpPr>
        <p:spPr bwMode="gray">
          <a:xfrm>
            <a:off x="3659502" y="612620"/>
            <a:ext cx="2440680" cy="5140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Ф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ормальды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емес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экономиканың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жоғары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деңгейі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Rectangle 323"/>
          <p:cNvSpPr>
            <a:spLocks/>
          </p:cNvSpPr>
          <p:nvPr/>
        </p:nvSpPr>
        <p:spPr bwMode="gray">
          <a:xfrm>
            <a:off x="6727553" y="619734"/>
            <a:ext cx="2344786" cy="499855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Көші-қон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қысымдары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63418" y="1222097"/>
            <a:ext cx="2936764" cy="1483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ормальд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мес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пен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ылу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ыздандыру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йесінен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ыс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у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сыздықты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уы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рығындағы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герімсізді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73376" y="1222097"/>
            <a:ext cx="2976862" cy="14829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дам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ғалтулар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ономикалық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келдер</a:t>
            </a:r>
            <a:endParaRPr lang="ru-RU" sz="1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іні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ктелуіне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ай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аматтарды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ірістерін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ғалту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рғау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ыны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лғаю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ыздандыруд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нықсыздығ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6215450" y="1222098"/>
            <a:ext cx="2856897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нын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суі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таюына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уықтыру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ңалту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-шараларын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ке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ға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ай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жеттіліктерді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уы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ңірлердегі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испропорция мен миграция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4633805" y="3445431"/>
            <a:ext cx="2943691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ді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пасын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ғалау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ритерийлеріні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ы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ді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ғұрлым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иімді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одельдеріне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жеттілі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уд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шенді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сілін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Aft>
                <a:spcPts val="300"/>
              </a:spcAft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ке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493371" y="3445431"/>
            <a:ext cx="2943691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 algn="just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дартт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пен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уды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аю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аматтард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ірістерін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ғалтуы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 algn="just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ифрлық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ғдылардың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мауынан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уртары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асындағы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ырман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уы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92075" indent="-92075" algn="just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ституттардың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ифрлық</a:t>
            </a:r>
            <a:r>
              <a:rPr lang="ru-RU" sz="1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рансформациясы</a:t>
            </a:r>
            <a:r>
              <a:rPr lang="ru-RU" sz="1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9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" name="Блок-схема: задержка 35">
            <a:extLst>
              <a:ext uri="{FF2B5EF4-FFF2-40B4-BE49-F238E27FC236}">
                <a16:creationId xmlns="" xmlns:a16="http://schemas.microsoft.com/office/drawing/2014/main" id="{A7A8AAA4-DEF3-405B-B093-E1243D5510AC}"/>
              </a:ext>
            </a:extLst>
          </p:cNvPr>
          <p:cNvSpPr/>
          <p:nvPr/>
        </p:nvSpPr>
        <p:spPr>
          <a:xfrm flipH="1">
            <a:off x="6215443" y="619734"/>
            <a:ext cx="512110" cy="499855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Блок-схема: задержка 36">
            <a:extLst>
              <a:ext uri="{FF2B5EF4-FFF2-40B4-BE49-F238E27FC236}">
                <a16:creationId xmlns="" xmlns:a16="http://schemas.microsoft.com/office/drawing/2014/main" id="{18615953-FB64-42A6-A8B9-ADEA12CB1AD6}"/>
              </a:ext>
            </a:extLst>
          </p:cNvPr>
          <p:cNvSpPr/>
          <p:nvPr/>
        </p:nvSpPr>
        <p:spPr>
          <a:xfrm flipH="1">
            <a:off x="3147392" y="612624"/>
            <a:ext cx="512110" cy="512547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6" descr="INTERIOR DECOR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110" y="716817"/>
            <a:ext cx="353448" cy="35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/>
          </p:cNvPicPr>
          <p:nvPr/>
        </p:nvPicPr>
        <p:blipFill>
          <a:blip r:embed="rId3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34141" y="737311"/>
            <a:ext cx="336000" cy="288000"/>
          </a:xfrm>
          <a:prstGeom prst="rect">
            <a:avLst/>
          </a:prstGeom>
        </p:spPr>
      </p:pic>
      <p:sp>
        <p:nvSpPr>
          <p:cNvPr id="40" name="Блок-схема: задержка 39">
            <a:extLst>
              <a:ext uri="{FF2B5EF4-FFF2-40B4-BE49-F238E27FC236}">
                <a16:creationId xmlns=""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73376" y="612620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="" xmlns:a16="http://schemas.microsoft.com/office/drawing/2014/main" id="{47A92E8E-46E2-4978-9D70-0B67C9A1711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87" y="677721"/>
            <a:ext cx="330392" cy="370487"/>
          </a:xfrm>
          <a:prstGeom prst="rect">
            <a:avLst/>
          </a:prstGeom>
        </p:spPr>
      </p:pic>
      <p:sp>
        <p:nvSpPr>
          <p:cNvPr id="32" name="Rectangle 323"/>
          <p:cNvSpPr>
            <a:spLocks/>
          </p:cNvSpPr>
          <p:nvPr/>
        </p:nvSpPr>
        <p:spPr bwMode="gray">
          <a:xfrm>
            <a:off x="1997527" y="2873224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lvl="0"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Цифрлық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экономика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23"/>
          <p:cNvSpPr>
            <a:spLocks/>
          </p:cNvSpPr>
          <p:nvPr/>
        </p:nvSpPr>
        <p:spPr bwMode="gray">
          <a:xfrm>
            <a:off x="5151853" y="2877595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Халықтың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көп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үміт</a:t>
            </a:r>
            <a:r>
              <a:rPr lang="ru-RU" sz="1000" b="1" kern="12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000" b="1" kern="1200" dirty="0" err="1" smtClean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артуы</a:t>
            </a:r>
            <a:endParaRPr lang="ru-RU" sz="10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Блок-схема: задержка 41">
            <a:extLst>
              <a:ext uri="{FF2B5EF4-FFF2-40B4-BE49-F238E27FC236}">
                <a16:creationId xmlns=""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4639743" y="2877591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oup 128"/>
          <p:cNvGrpSpPr>
            <a:grpSpLocks noChangeAspect="1"/>
          </p:cNvGrpSpPr>
          <p:nvPr/>
        </p:nvGrpSpPr>
        <p:grpSpPr>
          <a:xfrm>
            <a:off x="1616994" y="2942688"/>
            <a:ext cx="362626" cy="362624"/>
            <a:chOff x="5292430" y="2613965"/>
            <a:chExt cx="1645920" cy="1645920"/>
          </a:xfrm>
        </p:grpSpPr>
        <p:grpSp>
          <p:nvGrpSpPr>
            <p:cNvPr id="47" name="Group 130"/>
            <p:cNvGrpSpPr/>
            <p:nvPr/>
          </p:nvGrpSpPr>
          <p:grpSpPr>
            <a:xfrm>
              <a:off x="5392149" y="2697974"/>
              <a:ext cx="1446482" cy="1477901"/>
              <a:chOff x="5392149" y="2697974"/>
              <a:chExt cx="1446482" cy="1477901"/>
            </a:xfrm>
          </p:grpSpPr>
          <p:sp>
            <p:nvSpPr>
              <p:cNvPr id="48" name="Freeform 10"/>
              <p:cNvSpPr>
                <a:spLocks noEditPoints="1"/>
              </p:cNvSpPr>
              <p:nvPr/>
            </p:nvSpPr>
            <p:spPr bwMode="auto">
              <a:xfrm>
                <a:off x="5392149" y="2697974"/>
                <a:ext cx="1446482" cy="1477901"/>
              </a:xfrm>
              <a:custGeom>
                <a:avLst/>
                <a:gdLst>
                  <a:gd name="T0" fmla="*/ 1519 w 1900"/>
                  <a:gd name="T1" fmla="*/ 1024 h 1943"/>
                  <a:gd name="T2" fmla="*/ 1900 w 1900"/>
                  <a:gd name="T3" fmla="*/ 1002 h 1943"/>
                  <a:gd name="T4" fmla="*/ 1519 w 1900"/>
                  <a:gd name="T5" fmla="*/ 980 h 1943"/>
                  <a:gd name="T6" fmla="*/ 1164 w 1900"/>
                  <a:gd name="T7" fmla="*/ 690 h 1943"/>
                  <a:gd name="T8" fmla="*/ 1356 w 1900"/>
                  <a:gd name="T9" fmla="*/ 354 h 1943"/>
                  <a:gd name="T10" fmla="*/ 1356 w 1900"/>
                  <a:gd name="T11" fmla="*/ 44 h 1943"/>
                  <a:gd name="T12" fmla="*/ 1274 w 1900"/>
                  <a:gd name="T13" fmla="*/ 330 h 1943"/>
                  <a:gd name="T14" fmla="*/ 1003 w 1900"/>
                  <a:gd name="T15" fmla="*/ 651 h 1943"/>
                  <a:gd name="T16" fmla="*/ 445 w 1900"/>
                  <a:gd name="T17" fmla="*/ 413 h 1943"/>
                  <a:gd name="T18" fmla="*/ 252 w 1900"/>
                  <a:gd name="T19" fmla="*/ 0 h 1943"/>
                  <a:gd name="T20" fmla="*/ 252 w 1900"/>
                  <a:gd name="T21" fmla="*/ 504 h 1943"/>
                  <a:gd name="T22" fmla="*/ 739 w 1900"/>
                  <a:gd name="T23" fmla="*/ 770 h 1943"/>
                  <a:gd name="T24" fmla="*/ 736 w 1900"/>
                  <a:gd name="T25" fmla="*/ 1230 h 1943"/>
                  <a:gd name="T26" fmla="*/ 359 w 1900"/>
                  <a:gd name="T27" fmla="*/ 1314 h 1943"/>
                  <a:gd name="T28" fmla="*/ 359 w 1900"/>
                  <a:gd name="T29" fmla="*/ 1943 h 1943"/>
                  <a:gd name="T30" fmla="*/ 599 w 1900"/>
                  <a:gd name="T31" fmla="*/ 1426 h 1943"/>
                  <a:gd name="T32" fmla="*/ 1003 w 1900"/>
                  <a:gd name="T33" fmla="*/ 1353 h 1943"/>
                  <a:gd name="T34" fmla="*/ 1343 w 1900"/>
                  <a:gd name="T35" fmla="*/ 1449 h 1943"/>
                  <a:gd name="T36" fmla="*/ 1519 w 1900"/>
                  <a:gd name="T37" fmla="*/ 1880 h 1943"/>
                  <a:gd name="T38" fmla="*/ 1519 w 1900"/>
                  <a:gd name="T39" fmla="*/ 1377 h 1943"/>
                  <a:gd name="T40" fmla="*/ 1242 w 1900"/>
                  <a:gd name="T41" fmla="*/ 1258 h 1943"/>
                  <a:gd name="T42" fmla="*/ 1563 w 1900"/>
                  <a:gd name="T43" fmla="*/ 980 h 1943"/>
                  <a:gd name="T44" fmla="*/ 1856 w 1900"/>
                  <a:gd name="T45" fmla="*/ 1002 h 1943"/>
                  <a:gd name="T46" fmla="*/ 1563 w 1900"/>
                  <a:gd name="T47" fmla="*/ 1024 h 1943"/>
                  <a:gd name="T48" fmla="*/ 1563 w 1900"/>
                  <a:gd name="T49" fmla="*/ 980 h 1943"/>
                  <a:gd name="T50" fmla="*/ 1356 w 1900"/>
                  <a:gd name="T51" fmla="*/ 88 h 1943"/>
                  <a:gd name="T52" fmla="*/ 1356 w 1900"/>
                  <a:gd name="T53" fmla="*/ 310 h 1943"/>
                  <a:gd name="T54" fmla="*/ 1292 w 1900"/>
                  <a:gd name="T55" fmla="*/ 289 h 1943"/>
                  <a:gd name="T56" fmla="*/ 252 w 1900"/>
                  <a:gd name="T57" fmla="*/ 460 h 1943"/>
                  <a:gd name="T58" fmla="*/ 252 w 1900"/>
                  <a:gd name="T59" fmla="*/ 44 h 1943"/>
                  <a:gd name="T60" fmla="*/ 414 w 1900"/>
                  <a:gd name="T61" fmla="*/ 382 h 1943"/>
                  <a:gd name="T62" fmla="*/ 252 w 1900"/>
                  <a:gd name="T63" fmla="*/ 460 h 1943"/>
                  <a:gd name="T64" fmla="*/ 359 w 1900"/>
                  <a:gd name="T65" fmla="*/ 1899 h 1943"/>
                  <a:gd name="T66" fmla="*/ 359 w 1900"/>
                  <a:gd name="T67" fmla="*/ 1358 h 1943"/>
                  <a:gd name="T68" fmla="*/ 567 w 1900"/>
                  <a:gd name="T69" fmla="*/ 1456 h 1943"/>
                  <a:gd name="T70" fmla="*/ 1405 w 1900"/>
                  <a:gd name="T71" fmla="*/ 1455 h 1943"/>
                  <a:gd name="T72" fmla="*/ 1727 w 1900"/>
                  <a:gd name="T73" fmla="*/ 1629 h 1943"/>
                  <a:gd name="T74" fmla="*/ 1311 w 1900"/>
                  <a:gd name="T75" fmla="*/ 1629 h 1943"/>
                  <a:gd name="T76" fmla="*/ 1405 w 1900"/>
                  <a:gd name="T77" fmla="*/ 1455 h 1943"/>
                  <a:gd name="T78" fmla="*/ 1180 w 1900"/>
                  <a:gd name="T79" fmla="*/ 1252 h 1943"/>
                  <a:gd name="T80" fmla="*/ 798 w 1900"/>
                  <a:gd name="T81" fmla="*/ 1231 h 1943"/>
                  <a:gd name="T82" fmla="*/ 695 w 1900"/>
                  <a:gd name="T83" fmla="*/ 1002 h 1943"/>
                  <a:gd name="T84" fmla="*/ 802 w 1900"/>
                  <a:gd name="T85" fmla="*/ 770 h 1943"/>
                  <a:gd name="T86" fmla="*/ 1106 w 1900"/>
                  <a:gd name="T87" fmla="*/ 713 h 1943"/>
                  <a:gd name="T88" fmla="*/ 1309 w 1900"/>
                  <a:gd name="T89" fmla="*/ 980 h 1943"/>
                  <a:gd name="T90" fmla="*/ 1309 w 1900"/>
                  <a:gd name="T91" fmla="*/ 102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00" h="1943">
                    <a:moveTo>
                      <a:pt x="1353" y="1024"/>
                    </a:moveTo>
                    <a:cubicBezTo>
                      <a:pt x="1519" y="1024"/>
                      <a:pt x="1519" y="1024"/>
                      <a:pt x="1519" y="1024"/>
                    </a:cubicBezTo>
                    <a:cubicBezTo>
                      <a:pt x="1530" y="1119"/>
                      <a:pt x="1611" y="1193"/>
                      <a:pt x="1709" y="1193"/>
                    </a:cubicBezTo>
                    <a:cubicBezTo>
                      <a:pt x="1814" y="1193"/>
                      <a:pt x="1900" y="1107"/>
                      <a:pt x="1900" y="1002"/>
                    </a:cubicBezTo>
                    <a:cubicBezTo>
                      <a:pt x="1900" y="897"/>
                      <a:pt x="1814" y="811"/>
                      <a:pt x="1709" y="811"/>
                    </a:cubicBezTo>
                    <a:cubicBezTo>
                      <a:pt x="1611" y="811"/>
                      <a:pt x="1530" y="885"/>
                      <a:pt x="1519" y="980"/>
                    </a:cubicBezTo>
                    <a:cubicBezTo>
                      <a:pt x="1353" y="980"/>
                      <a:pt x="1353" y="980"/>
                      <a:pt x="1353" y="980"/>
                    </a:cubicBezTo>
                    <a:cubicBezTo>
                      <a:pt x="1345" y="854"/>
                      <a:pt x="1270" y="745"/>
                      <a:pt x="1164" y="690"/>
                    </a:cubicBezTo>
                    <a:cubicBezTo>
                      <a:pt x="1314" y="348"/>
                      <a:pt x="1314" y="348"/>
                      <a:pt x="1314" y="348"/>
                    </a:cubicBezTo>
                    <a:cubicBezTo>
                      <a:pt x="1327" y="352"/>
                      <a:pt x="1341" y="354"/>
                      <a:pt x="1356" y="354"/>
                    </a:cubicBezTo>
                    <a:cubicBezTo>
                      <a:pt x="1441" y="354"/>
                      <a:pt x="1511" y="284"/>
                      <a:pt x="1511" y="199"/>
                    </a:cubicBezTo>
                    <a:cubicBezTo>
                      <a:pt x="1511" y="113"/>
                      <a:pt x="1441" y="44"/>
                      <a:pt x="1356" y="44"/>
                    </a:cubicBezTo>
                    <a:cubicBezTo>
                      <a:pt x="1270" y="44"/>
                      <a:pt x="1201" y="113"/>
                      <a:pt x="1201" y="199"/>
                    </a:cubicBezTo>
                    <a:cubicBezTo>
                      <a:pt x="1201" y="254"/>
                      <a:pt x="1230" y="303"/>
                      <a:pt x="1274" y="330"/>
                    </a:cubicBezTo>
                    <a:cubicBezTo>
                      <a:pt x="1123" y="672"/>
                      <a:pt x="1123" y="672"/>
                      <a:pt x="1123" y="672"/>
                    </a:cubicBezTo>
                    <a:cubicBezTo>
                      <a:pt x="1086" y="659"/>
                      <a:pt x="1045" y="651"/>
                      <a:pt x="1003" y="651"/>
                    </a:cubicBezTo>
                    <a:cubicBezTo>
                      <a:pt x="914" y="651"/>
                      <a:pt x="832" y="684"/>
                      <a:pt x="770" y="739"/>
                    </a:cubicBezTo>
                    <a:cubicBezTo>
                      <a:pt x="445" y="413"/>
                      <a:pt x="445" y="413"/>
                      <a:pt x="445" y="413"/>
                    </a:cubicBezTo>
                    <a:cubicBezTo>
                      <a:pt x="482" y="370"/>
                      <a:pt x="504" y="313"/>
                      <a:pt x="504" y="252"/>
                    </a:cubicBezTo>
                    <a:cubicBezTo>
                      <a:pt x="504" y="113"/>
                      <a:pt x="391" y="0"/>
                      <a:pt x="252" y="0"/>
                    </a:cubicBezTo>
                    <a:cubicBezTo>
                      <a:pt x="113" y="0"/>
                      <a:pt x="0" y="113"/>
                      <a:pt x="0" y="252"/>
                    </a:cubicBezTo>
                    <a:cubicBezTo>
                      <a:pt x="0" y="391"/>
                      <a:pt x="113" y="504"/>
                      <a:pt x="252" y="504"/>
                    </a:cubicBezTo>
                    <a:cubicBezTo>
                      <a:pt x="314" y="504"/>
                      <a:pt x="370" y="481"/>
                      <a:pt x="414" y="445"/>
                    </a:cubicBezTo>
                    <a:cubicBezTo>
                      <a:pt x="739" y="770"/>
                      <a:pt x="739" y="770"/>
                      <a:pt x="739" y="770"/>
                    </a:cubicBezTo>
                    <a:cubicBezTo>
                      <a:pt x="685" y="832"/>
                      <a:pt x="651" y="913"/>
                      <a:pt x="651" y="1002"/>
                    </a:cubicBezTo>
                    <a:cubicBezTo>
                      <a:pt x="651" y="1089"/>
                      <a:pt x="683" y="1169"/>
                      <a:pt x="736" y="1230"/>
                    </a:cubicBezTo>
                    <a:cubicBezTo>
                      <a:pt x="568" y="1394"/>
                      <a:pt x="568" y="1394"/>
                      <a:pt x="568" y="1394"/>
                    </a:cubicBezTo>
                    <a:cubicBezTo>
                      <a:pt x="512" y="1345"/>
                      <a:pt x="439" y="1314"/>
                      <a:pt x="359" y="1314"/>
                    </a:cubicBezTo>
                    <a:cubicBezTo>
                      <a:pt x="186" y="1314"/>
                      <a:pt x="45" y="1455"/>
                      <a:pt x="45" y="1629"/>
                    </a:cubicBezTo>
                    <a:cubicBezTo>
                      <a:pt x="45" y="1802"/>
                      <a:pt x="186" y="1943"/>
                      <a:pt x="359" y="1943"/>
                    </a:cubicBezTo>
                    <a:cubicBezTo>
                      <a:pt x="532" y="1943"/>
                      <a:pt x="673" y="1802"/>
                      <a:pt x="673" y="1629"/>
                    </a:cubicBezTo>
                    <a:cubicBezTo>
                      <a:pt x="673" y="1551"/>
                      <a:pt x="645" y="1481"/>
                      <a:pt x="599" y="1426"/>
                    </a:cubicBezTo>
                    <a:cubicBezTo>
                      <a:pt x="767" y="1262"/>
                      <a:pt x="767" y="1262"/>
                      <a:pt x="767" y="1262"/>
                    </a:cubicBezTo>
                    <a:cubicBezTo>
                      <a:pt x="829" y="1319"/>
                      <a:pt x="912" y="1353"/>
                      <a:pt x="1003" y="1353"/>
                    </a:cubicBezTo>
                    <a:cubicBezTo>
                      <a:pt x="1079" y="1353"/>
                      <a:pt x="1151" y="1328"/>
                      <a:pt x="1208" y="1286"/>
                    </a:cubicBezTo>
                    <a:cubicBezTo>
                      <a:pt x="1343" y="1449"/>
                      <a:pt x="1343" y="1449"/>
                      <a:pt x="1343" y="1449"/>
                    </a:cubicBezTo>
                    <a:cubicBezTo>
                      <a:pt x="1296" y="1495"/>
                      <a:pt x="1267" y="1558"/>
                      <a:pt x="1267" y="1629"/>
                    </a:cubicBezTo>
                    <a:cubicBezTo>
                      <a:pt x="1267" y="1767"/>
                      <a:pt x="1380" y="1880"/>
                      <a:pt x="1519" y="1880"/>
                    </a:cubicBezTo>
                    <a:cubicBezTo>
                      <a:pt x="1658" y="1880"/>
                      <a:pt x="1771" y="1767"/>
                      <a:pt x="1771" y="1629"/>
                    </a:cubicBezTo>
                    <a:cubicBezTo>
                      <a:pt x="1771" y="1490"/>
                      <a:pt x="1658" y="1377"/>
                      <a:pt x="1519" y="1377"/>
                    </a:cubicBezTo>
                    <a:cubicBezTo>
                      <a:pt x="1466" y="1377"/>
                      <a:pt x="1417" y="1393"/>
                      <a:pt x="1377" y="1421"/>
                    </a:cubicBezTo>
                    <a:cubicBezTo>
                      <a:pt x="1242" y="1258"/>
                      <a:pt x="1242" y="1258"/>
                      <a:pt x="1242" y="1258"/>
                    </a:cubicBezTo>
                    <a:cubicBezTo>
                      <a:pt x="1306" y="1199"/>
                      <a:pt x="1347" y="1116"/>
                      <a:pt x="1353" y="1024"/>
                    </a:cubicBezTo>
                    <a:close/>
                    <a:moveTo>
                      <a:pt x="1563" y="980"/>
                    </a:moveTo>
                    <a:cubicBezTo>
                      <a:pt x="1574" y="909"/>
                      <a:pt x="1635" y="855"/>
                      <a:pt x="1709" y="855"/>
                    </a:cubicBezTo>
                    <a:cubicBezTo>
                      <a:pt x="1790" y="855"/>
                      <a:pt x="1856" y="921"/>
                      <a:pt x="1856" y="1002"/>
                    </a:cubicBezTo>
                    <a:cubicBezTo>
                      <a:pt x="1856" y="1083"/>
                      <a:pt x="1790" y="1149"/>
                      <a:pt x="1709" y="1149"/>
                    </a:cubicBezTo>
                    <a:cubicBezTo>
                      <a:pt x="1635" y="1149"/>
                      <a:pt x="1574" y="1095"/>
                      <a:pt x="1563" y="1024"/>
                    </a:cubicBezTo>
                    <a:cubicBezTo>
                      <a:pt x="1562" y="1017"/>
                      <a:pt x="1562" y="1009"/>
                      <a:pt x="1562" y="1002"/>
                    </a:cubicBezTo>
                    <a:cubicBezTo>
                      <a:pt x="1562" y="995"/>
                      <a:pt x="1562" y="987"/>
                      <a:pt x="1563" y="980"/>
                    </a:cubicBezTo>
                    <a:close/>
                    <a:moveTo>
                      <a:pt x="1245" y="199"/>
                    </a:moveTo>
                    <a:cubicBezTo>
                      <a:pt x="1245" y="138"/>
                      <a:pt x="1294" y="88"/>
                      <a:pt x="1356" y="88"/>
                    </a:cubicBezTo>
                    <a:cubicBezTo>
                      <a:pt x="1417" y="88"/>
                      <a:pt x="1467" y="138"/>
                      <a:pt x="1467" y="199"/>
                    </a:cubicBezTo>
                    <a:cubicBezTo>
                      <a:pt x="1467" y="260"/>
                      <a:pt x="1417" y="310"/>
                      <a:pt x="1356" y="310"/>
                    </a:cubicBezTo>
                    <a:cubicBezTo>
                      <a:pt x="1348" y="310"/>
                      <a:pt x="1340" y="309"/>
                      <a:pt x="1332" y="307"/>
                    </a:cubicBezTo>
                    <a:cubicBezTo>
                      <a:pt x="1317" y="304"/>
                      <a:pt x="1304" y="298"/>
                      <a:pt x="1292" y="289"/>
                    </a:cubicBezTo>
                    <a:cubicBezTo>
                      <a:pt x="1263" y="269"/>
                      <a:pt x="1245" y="236"/>
                      <a:pt x="1245" y="199"/>
                    </a:cubicBezTo>
                    <a:close/>
                    <a:moveTo>
                      <a:pt x="252" y="460"/>
                    </a:moveTo>
                    <a:cubicBezTo>
                      <a:pt x="138" y="460"/>
                      <a:pt x="44" y="367"/>
                      <a:pt x="44" y="252"/>
                    </a:cubicBezTo>
                    <a:cubicBezTo>
                      <a:pt x="44" y="137"/>
                      <a:pt x="138" y="44"/>
                      <a:pt x="252" y="44"/>
                    </a:cubicBezTo>
                    <a:cubicBezTo>
                      <a:pt x="367" y="44"/>
                      <a:pt x="460" y="137"/>
                      <a:pt x="460" y="252"/>
                    </a:cubicBezTo>
                    <a:cubicBezTo>
                      <a:pt x="460" y="301"/>
                      <a:pt x="443" y="347"/>
                      <a:pt x="414" y="382"/>
                    </a:cubicBezTo>
                    <a:cubicBezTo>
                      <a:pt x="405" y="394"/>
                      <a:pt x="394" y="404"/>
                      <a:pt x="383" y="413"/>
                    </a:cubicBezTo>
                    <a:cubicBezTo>
                      <a:pt x="347" y="442"/>
                      <a:pt x="302" y="460"/>
                      <a:pt x="252" y="460"/>
                    </a:cubicBezTo>
                    <a:close/>
                    <a:moveTo>
                      <a:pt x="629" y="1629"/>
                    </a:moveTo>
                    <a:cubicBezTo>
                      <a:pt x="629" y="1778"/>
                      <a:pt x="508" y="1899"/>
                      <a:pt x="359" y="1899"/>
                    </a:cubicBezTo>
                    <a:cubicBezTo>
                      <a:pt x="210" y="1899"/>
                      <a:pt x="89" y="1778"/>
                      <a:pt x="89" y="1629"/>
                    </a:cubicBezTo>
                    <a:cubicBezTo>
                      <a:pt x="89" y="1479"/>
                      <a:pt x="210" y="1358"/>
                      <a:pt x="359" y="1358"/>
                    </a:cubicBezTo>
                    <a:cubicBezTo>
                      <a:pt x="427" y="1358"/>
                      <a:pt x="489" y="1383"/>
                      <a:pt x="536" y="1425"/>
                    </a:cubicBezTo>
                    <a:cubicBezTo>
                      <a:pt x="547" y="1435"/>
                      <a:pt x="558" y="1445"/>
                      <a:pt x="567" y="1456"/>
                    </a:cubicBezTo>
                    <a:cubicBezTo>
                      <a:pt x="606" y="1503"/>
                      <a:pt x="629" y="1563"/>
                      <a:pt x="629" y="1629"/>
                    </a:cubicBezTo>
                    <a:close/>
                    <a:moveTo>
                      <a:pt x="1405" y="1455"/>
                    </a:moveTo>
                    <a:cubicBezTo>
                      <a:pt x="1437" y="1433"/>
                      <a:pt x="1477" y="1421"/>
                      <a:pt x="1519" y="1421"/>
                    </a:cubicBezTo>
                    <a:cubicBezTo>
                      <a:pt x="1634" y="1421"/>
                      <a:pt x="1727" y="1514"/>
                      <a:pt x="1727" y="1629"/>
                    </a:cubicBezTo>
                    <a:cubicBezTo>
                      <a:pt x="1727" y="1743"/>
                      <a:pt x="1634" y="1836"/>
                      <a:pt x="1519" y="1836"/>
                    </a:cubicBezTo>
                    <a:cubicBezTo>
                      <a:pt x="1404" y="1836"/>
                      <a:pt x="1311" y="1743"/>
                      <a:pt x="1311" y="1629"/>
                    </a:cubicBezTo>
                    <a:cubicBezTo>
                      <a:pt x="1311" y="1572"/>
                      <a:pt x="1334" y="1521"/>
                      <a:pt x="1371" y="1483"/>
                    </a:cubicBezTo>
                    <a:cubicBezTo>
                      <a:pt x="1381" y="1473"/>
                      <a:pt x="1392" y="1463"/>
                      <a:pt x="1405" y="1455"/>
                    </a:cubicBezTo>
                    <a:close/>
                    <a:moveTo>
                      <a:pt x="1214" y="1224"/>
                    </a:moveTo>
                    <a:cubicBezTo>
                      <a:pt x="1204" y="1234"/>
                      <a:pt x="1192" y="1244"/>
                      <a:pt x="1180" y="1252"/>
                    </a:cubicBezTo>
                    <a:cubicBezTo>
                      <a:pt x="1130" y="1288"/>
                      <a:pt x="1069" y="1309"/>
                      <a:pt x="1003" y="1309"/>
                    </a:cubicBezTo>
                    <a:cubicBezTo>
                      <a:pt x="924" y="1309"/>
                      <a:pt x="853" y="1280"/>
                      <a:pt x="798" y="1231"/>
                    </a:cubicBezTo>
                    <a:cubicBezTo>
                      <a:pt x="787" y="1222"/>
                      <a:pt x="777" y="1211"/>
                      <a:pt x="768" y="1200"/>
                    </a:cubicBezTo>
                    <a:cubicBezTo>
                      <a:pt x="723" y="1146"/>
                      <a:pt x="695" y="1077"/>
                      <a:pt x="695" y="1002"/>
                    </a:cubicBezTo>
                    <a:cubicBezTo>
                      <a:pt x="695" y="925"/>
                      <a:pt x="724" y="855"/>
                      <a:pt x="770" y="801"/>
                    </a:cubicBezTo>
                    <a:cubicBezTo>
                      <a:pt x="780" y="790"/>
                      <a:pt x="790" y="780"/>
                      <a:pt x="802" y="770"/>
                    </a:cubicBezTo>
                    <a:cubicBezTo>
                      <a:pt x="855" y="723"/>
                      <a:pt x="926" y="695"/>
                      <a:pt x="1003" y="695"/>
                    </a:cubicBezTo>
                    <a:cubicBezTo>
                      <a:pt x="1039" y="695"/>
                      <a:pt x="1073" y="701"/>
                      <a:pt x="1106" y="713"/>
                    </a:cubicBezTo>
                    <a:cubicBezTo>
                      <a:pt x="1120" y="718"/>
                      <a:pt x="1133" y="724"/>
                      <a:pt x="1146" y="730"/>
                    </a:cubicBezTo>
                    <a:cubicBezTo>
                      <a:pt x="1237" y="779"/>
                      <a:pt x="1301" y="872"/>
                      <a:pt x="1309" y="980"/>
                    </a:cubicBezTo>
                    <a:cubicBezTo>
                      <a:pt x="1309" y="987"/>
                      <a:pt x="1310" y="995"/>
                      <a:pt x="1310" y="1002"/>
                    </a:cubicBezTo>
                    <a:cubicBezTo>
                      <a:pt x="1310" y="1009"/>
                      <a:pt x="1309" y="1017"/>
                      <a:pt x="1309" y="1024"/>
                    </a:cubicBezTo>
                    <a:cubicBezTo>
                      <a:pt x="1303" y="1103"/>
                      <a:pt x="1268" y="1173"/>
                      <a:pt x="1214" y="1224"/>
                    </a:cubicBezTo>
                    <a:close/>
                  </a:path>
                </a:pathLst>
              </a:custGeom>
              <a:solidFill>
                <a:srgbClr val="16314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32"/>
              <p:cNvSpPr>
                <a:spLocks noChangeArrowheads="1"/>
              </p:cNvSpPr>
              <p:nvPr/>
            </p:nvSpPr>
            <p:spPr bwMode="auto">
              <a:xfrm>
                <a:off x="5459511" y="2764429"/>
                <a:ext cx="1312612" cy="1345005"/>
              </a:xfrm>
              <a:custGeom>
                <a:avLst/>
                <a:gdLst>
                  <a:gd name="connsiteX0" fmla="*/ 1089071 w 1312612"/>
                  <a:gd name="connsiteY0" fmla="*/ 1048073 h 1345000"/>
                  <a:gd name="connsiteX1" fmla="*/ 1214102 w 1312612"/>
                  <a:gd name="connsiteY1" fmla="*/ 1172563 h 1345000"/>
                  <a:gd name="connsiteX2" fmla="*/ 1089071 w 1312612"/>
                  <a:gd name="connsiteY2" fmla="*/ 1297053 h 1345000"/>
                  <a:gd name="connsiteX3" fmla="*/ 964040 w 1312612"/>
                  <a:gd name="connsiteY3" fmla="*/ 1172563 h 1345000"/>
                  <a:gd name="connsiteX4" fmla="*/ 1089071 w 1312612"/>
                  <a:gd name="connsiteY4" fmla="*/ 1048073 h 1345000"/>
                  <a:gd name="connsiteX5" fmla="*/ 205860 w 1312612"/>
                  <a:gd name="connsiteY5" fmla="*/ 1000128 h 1345000"/>
                  <a:gd name="connsiteX6" fmla="*/ 378041 w 1312612"/>
                  <a:gd name="connsiteY6" fmla="*/ 1172564 h 1345000"/>
                  <a:gd name="connsiteX7" fmla="*/ 205860 w 1312612"/>
                  <a:gd name="connsiteY7" fmla="*/ 1345000 h 1345000"/>
                  <a:gd name="connsiteX8" fmla="*/ 33679 w 1312612"/>
                  <a:gd name="connsiteY8" fmla="*/ 1172564 h 1345000"/>
                  <a:gd name="connsiteX9" fmla="*/ 205860 w 1312612"/>
                  <a:gd name="connsiteY9" fmla="*/ 1000128 h 1345000"/>
                  <a:gd name="connsiteX10" fmla="*/ 1233888 w 1312612"/>
                  <a:gd name="connsiteY10" fmla="*/ 617404 h 1345000"/>
                  <a:gd name="connsiteX11" fmla="*/ 1312612 w 1312612"/>
                  <a:gd name="connsiteY11" fmla="*/ 695631 h 1345000"/>
                  <a:gd name="connsiteX12" fmla="*/ 1233888 w 1312612"/>
                  <a:gd name="connsiteY12" fmla="*/ 773858 h 1345000"/>
                  <a:gd name="connsiteX13" fmla="*/ 1155164 w 1312612"/>
                  <a:gd name="connsiteY13" fmla="*/ 695631 h 1345000"/>
                  <a:gd name="connsiteX14" fmla="*/ 1233888 w 1312612"/>
                  <a:gd name="connsiteY14" fmla="*/ 617404 h 1345000"/>
                  <a:gd name="connsiteX15" fmla="*/ 695878 w 1312612"/>
                  <a:gd name="connsiteY15" fmla="*/ 495438 h 1345000"/>
                  <a:gd name="connsiteX16" fmla="*/ 896685 w 1312612"/>
                  <a:gd name="connsiteY16" fmla="*/ 695632 h 1345000"/>
                  <a:gd name="connsiteX17" fmla="*/ 695878 w 1312612"/>
                  <a:gd name="connsiteY17" fmla="*/ 895826 h 1345000"/>
                  <a:gd name="connsiteX18" fmla="*/ 495071 w 1312612"/>
                  <a:gd name="connsiteY18" fmla="*/ 695632 h 1345000"/>
                  <a:gd name="connsiteX19" fmla="*/ 695878 w 1312612"/>
                  <a:gd name="connsiteY19" fmla="*/ 495438 h 1345000"/>
                  <a:gd name="connsiteX20" fmla="*/ 965304 w 1312612"/>
                  <a:gd name="connsiteY20" fmla="*/ 33646 h 1345000"/>
                  <a:gd name="connsiteX21" fmla="*/ 1016243 w 1312612"/>
                  <a:gd name="connsiteY21" fmla="*/ 84536 h 1345000"/>
                  <a:gd name="connsiteX22" fmla="*/ 965304 w 1312612"/>
                  <a:gd name="connsiteY22" fmla="*/ 135426 h 1345000"/>
                  <a:gd name="connsiteX23" fmla="*/ 914365 w 1312612"/>
                  <a:gd name="connsiteY23" fmla="*/ 84536 h 1345000"/>
                  <a:gd name="connsiteX24" fmla="*/ 965304 w 1312612"/>
                  <a:gd name="connsiteY24" fmla="*/ 33646 h 1345000"/>
                  <a:gd name="connsiteX25" fmla="*/ 124610 w 1312612"/>
                  <a:gd name="connsiteY25" fmla="*/ 0 h 1345000"/>
                  <a:gd name="connsiteX26" fmla="*/ 249220 w 1312612"/>
                  <a:gd name="connsiteY26" fmla="*/ 124911 h 1345000"/>
                  <a:gd name="connsiteX27" fmla="*/ 124610 w 1312612"/>
                  <a:gd name="connsiteY27" fmla="*/ 249822 h 1345000"/>
                  <a:gd name="connsiteX28" fmla="*/ 0 w 1312612"/>
                  <a:gd name="connsiteY28" fmla="*/ 124911 h 1345000"/>
                  <a:gd name="connsiteX29" fmla="*/ 124610 w 1312612"/>
                  <a:gd name="connsiteY29" fmla="*/ 0 h 134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12612" h="1345000">
                    <a:moveTo>
                      <a:pt x="1089071" y="1048073"/>
                    </a:moveTo>
                    <a:cubicBezTo>
                      <a:pt x="1158124" y="1048073"/>
                      <a:pt x="1214102" y="1103809"/>
                      <a:pt x="1214102" y="1172563"/>
                    </a:cubicBezTo>
                    <a:cubicBezTo>
                      <a:pt x="1214102" y="1241317"/>
                      <a:pt x="1158124" y="1297053"/>
                      <a:pt x="1089071" y="1297053"/>
                    </a:cubicBezTo>
                    <a:cubicBezTo>
                      <a:pt x="1020018" y="1297053"/>
                      <a:pt x="964040" y="1241317"/>
                      <a:pt x="964040" y="1172563"/>
                    </a:cubicBezTo>
                    <a:cubicBezTo>
                      <a:pt x="964040" y="1103809"/>
                      <a:pt x="1020018" y="1048073"/>
                      <a:pt x="1089071" y="1048073"/>
                    </a:cubicBezTo>
                    <a:close/>
                    <a:moveTo>
                      <a:pt x="205860" y="1000128"/>
                    </a:moveTo>
                    <a:cubicBezTo>
                      <a:pt x="300953" y="1000128"/>
                      <a:pt x="378041" y="1077330"/>
                      <a:pt x="378041" y="1172564"/>
                    </a:cubicBezTo>
                    <a:cubicBezTo>
                      <a:pt x="378041" y="1267798"/>
                      <a:pt x="300953" y="1345000"/>
                      <a:pt x="205860" y="1345000"/>
                    </a:cubicBezTo>
                    <a:cubicBezTo>
                      <a:pt x="110767" y="1345000"/>
                      <a:pt x="33679" y="1267798"/>
                      <a:pt x="33679" y="1172564"/>
                    </a:cubicBezTo>
                    <a:cubicBezTo>
                      <a:pt x="33679" y="1077330"/>
                      <a:pt x="110767" y="1000128"/>
                      <a:pt x="205860" y="1000128"/>
                    </a:cubicBezTo>
                    <a:close/>
                    <a:moveTo>
                      <a:pt x="1233888" y="617404"/>
                    </a:moveTo>
                    <a:cubicBezTo>
                      <a:pt x="1277366" y="617404"/>
                      <a:pt x="1312612" y="652427"/>
                      <a:pt x="1312612" y="695631"/>
                    </a:cubicBezTo>
                    <a:cubicBezTo>
                      <a:pt x="1312612" y="738835"/>
                      <a:pt x="1277366" y="773858"/>
                      <a:pt x="1233888" y="773858"/>
                    </a:cubicBezTo>
                    <a:cubicBezTo>
                      <a:pt x="1190410" y="773858"/>
                      <a:pt x="1155164" y="738835"/>
                      <a:pt x="1155164" y="695631"/>
                    </a:cubicBezTo>
                    <a:cubicBezTo>
                      <a:pt x="1155164" y="652427"/>
                      <a:pt x="1190410" y="617404"/>
                      <a:pt x="1233888" y="617404"/>
                    </a:cubicBezTo>
                    <a:close/>
                    <a:moveTo>
                      <a:pt x="695878" y="495438"/>
                    </a:moveTo>
                    <a:cubicBezTo>
                      <a:pt x="806781" y="495438"/>
                      <a:pt x="896685" y="585068"/>
                      <a:pt x="896685" y="695632"/>
                    </a:cubicBezTo>
                    <a:cubicBezTo>
                      <a:pt x="896685" y="806196"/>
                      <a:pt x="806781" y="895826"/>
                      <a:pt x="695878" y="895826"/>
                    </a:cubicBezTo>
                    <a:cubicBezTo>
                      <a:pt x="584975" y="895826"/>
                      <a:pt x="495071" y="806196"/>
                      <a:pt x="495071" y="695632"/>
                    </a:cubicBezTo>
                    <a:cubicBezTo>
                      <a:pt x="495071" y="585068"/>
                      <a:pt x="584975" y="495438"/>
                      <a:pt x="695878" y="495438"/>
                    </a:cubicBezTo>
                    <a:close/>
                    <a:moveTo>
                      <a:pt x="965304" y="33646"/>
                    </a:moveTo>
                    <a:cubicBezTo>
                      <a:pt x="993437" y="33646"/>
                      <a:pt x="1016243" y="56430"/>
                      <a:pt x="1016243" y="84536"/>
                    </a:cubicBezTo>
                    <a:cubicBezTo>
                      <a:pt x="1016243" y="112642"/>
                      <a:pt x="993437" y="135426"/>
                      <a:pt x="965304" y="135426"/>
                    </a:cubicBezTo>
                    <a:cubicBezTo>
                      <a:pt x="937171" y="135426"/>
                      <a:pt x="914365" y="112642"/>
                      <a:pt x="914365" y="84536"/>
                    </a:cubicBezTo>
                    <a:cubicBezTo>
                      <a:pt x="914365" y="56430"/>
                      <a:pt x="937171" y="33646"/>
                      <a:pt x="965304" y="33646"/>
                    </a:cubicBezTo>
                    <a:close/>
                    <a:moveTo>
                      <a:pt x="124610" y="0"/>
                    </a:moveTo>
                    <a:cubicBezTo>
                      <a:pt x="193430" y="0"/>
                      <a:pt x="249220" y="55925"/>
                      <a:pt x="249220" y="124911"/>
                    </a:cubicBezTo>
                    <a:cubicBezTo>
                      <a:pt x="249220" y="193897"/>
                      <a:pt x="193430" y="249822"/>
                      <a:pt x="124610" y="249822"/>
                    </a:cubicBezTo>
                    <a:cubicBezTo>
                      <a:pt x="55790" y="249822"/>
                      <a:pt x="0" y="193897"/>
                      <a:pt x="0" y="124911"/>
                    </a:cubicBezTo>
                    <a:cubicBezTo>
                      <a:pt x="0" y="55925"/>
                      <a:pt x="55790" y="0"/>
                      <a:pt x="124610" y="0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Rectangle 129"/>
            <p:cNvSpPr/>
            <p:nvPr/>
          </p:nvSpPr>
          <p:spPr>
            <a:xfrm>
              <a:off x="5292430" y="2613965"/>
              <a:ext cx="1645920" cy="1645920"/>
            </a:xfrm>
            <a:prstGeom prst="rect">
              <a:avLst/>
            </a:prstGeom>
            <a:noFill/>
            <a:ln w="9525" cap="rnd" cmpd="sng" algn="ctr">
              <a:noFill/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oup 180"/>
          <p:cNvGrpSpPr>
            <a:grpSpLocks/>
          </p:cNvGrpSpPr>
          <p:nvPr/>
        </p:nvGrpSpPr>
        <p:grpSpPr>
          <a:xfrm>
            <a:off x="4730128" y="2903492"/>
            <a:ext cx="386277" cy="399770"/>
            <a:chOff x="5273803" y="2606040"/>
            <a:chExt cx="1644396" cy="1645920"/>
          </a:xfrm>
        </p:grpSpPr>
        <p:sp>
          <p:nvSpPr>
            <p:cNvPr id="52" name="AutoShape 18">
              <a:extLst>
                <a:ext uri="{FF2B5EF4-FFF2-40B4-BE49-F238E27FC236}">
                  <a16:creationId xmlns="" xmlns:a16="http://schemas.microsoft.com/office/drawing/2014/main" id="{575286B9-FCC8-4EFB-9834-BD5493C559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3" name="Group 182"/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54" name="Freeform 20">
                <a:extLst>
                  <a:ext uri="{FF2B5EF4-FFF2-40B4-BE49-F238E27FC236}">
                    <a16:creationId xmlns=""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rgbClr val="1631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21">
                <a:extLst>
                  <a:ext uri="{FF2B5EF4-FFF2-40B4-BE49-F238E27FC236}">
                    <a16:creationId xmlns=""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09293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3E29B8D0-3007-4288-8755-DDCCA3F2ACF2}"/>
              </a:ext>
            </a:extLst>
          </p:cNvPr>
          <p:cNvSpPr/>
          <p:nvPr/>
        </p:nvSpPr>
        <p:spPr>
          <a:xfrm>
            <a:off x="2029485" y="3384596"/>
            <a:ext cx="6545435" cy="12470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56D9F19D-6E36-4026-B30B-E265BEA27533}"/>
              </a:ext>
            </a:extLst>
          </p:cNvPr>
          <p:cNvSpPr/>
          <p:nvPr/>
        </p:nvSpPr>
        <p:spPr>
          <a:xfrm>
            <a:off x="2030184" y="2345094"/>
            <a:ext cx="6545435" cy="9108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7882304F-DB44-4947-BB3A-820E73A66958}"/>
              </a:ext>
            </a:extLst>
          </p:cNvPr>
          <p:cNvSpPr/>
          <p:nvPr/>
        </p:nvSpPr>
        <p:spPr>
          <a:xfrm>
            <a:off x="2030184" y="866602"/>
            <a:ext cx="6545435" cy="11678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175" name="Straight Connector 73"/>
          <p:cNvCxnSpPr>
            <a:cxnSpLocks/>
          </p:cNvCxnSpPr>
          <p:nvPr/>
        </p:nvCxnSpPr>
        <p:spPr bwMode="gray">
          <a:xfrm>
            <a:off x="571040" y="4753258"/>
            <a:ext cx="8004575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646510" y="448866"/>
            <a:ext cx="7787916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52389"/>
            <a:ext cx="9144000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3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sz="23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altLang="ru-RU" sz="23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кодекстің</a:t>
            </a:r>
            <a:r>
              <a:rPr lang="ru-RU" altLang="ru-RU" sz="23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altLang="ru-RU" sz="23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ақсаты</a:t>
            </a:r>
            <a:r>
              <a:rPr lang="ru-RU" altLang="ru-RU" sz="23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мен </a:t>
            </a:r>
            <a:r>
              <a:rPr lang="ru-RU" altLang="ru-RU" sz="23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індеттері</a:t>
            </a:r>
            <a:r>
              <a:rPr lang="ru-RU" altLang="ru-RU" sz="23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3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1521" name="TextBox 109"/>
          <p:cNvSpPr txBox="1">
            <a:spLocks noChangeArrowheads="1"/>
          </p:cNvSpPr>
          <p:nvPr/>
        </p:nvSpPr>
        <p:spPr bwMode="auto">
          <a:xfrm>
            <a:off x="2069935" y="1022156"/>
            <a:ext cx="6399508" cy="807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just"/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ұқықтары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мен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үдделерін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іске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сыруы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үшін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ционалдық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стырушылық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у</a:t>
            </a:r>
            <a:endParaRPr lang="ru-RU" altLang="ru-RU" sz="1600" b="1" kern="1200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50" name="Straight Connector 73"/>
          <p:cNvCxnSpPr>
            <a:cxnSpLocks/>
          </p:cNvCxnSpPr>
          <p:nvPr/>
        </p:nvCxnSpPr>
        <p:spPr bwMode="gray">
          <a:xfrm>
            <a:off x="571040" y="2169467"/>
            <a:ext cx="800457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5390401" y="2523364"/>
            <a:ext cx="30790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7">
              <a:spcBef>
                <a:spcPts val="1800"/>
              </a:spcBef>
              <a:buClrTx/>
            </a:pP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аладағы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ұқықтық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ктілерді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шоғырландыру</a:t>
            </a:r>
            <a:endParaRPr lang="ru-RU" sz="1600" b="1" kern="12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44" name="Straight Connector 73"/>
          <p:cNvCxnSpPr>
            <a:cxnSpLocks/>
          </p:cNvCxnSpPr>
          <p:nvPr/>
        </p:nvCxnSpPr>
        <p:spPr bwMode="gray">
          <a:xfrm>
            <a:off x="564488" y="674236"/>
            <a:ext cx="8011129" cy="1253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5460252" y="3427378"/>
            <a:ext cx="30790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24923" fontAlgn="base">
              <a:spcAft>
                <a:spcPts val="476"/>
              </a:spcAft>
              <a:buClrTx/>
            </a:pP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өлемдерді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жүйелеу</a:t>
            </a:r>
            <a:endParaRPr lang="ru-RU" sz="1600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450091" y="4055524"/>
            <a:ext cx="29843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24923" fontAlgn="base">
              <a:spcAft>
                <a:spcPts val="476"/>
              </a:spcAft>
              <a:buClrTx/>
            </a:pPr>
            <a:r>
              <a:rPr lang="ru-RU" sz="16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ызметтерді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апалы</a:t>
            </a:r>
            <a:r>
              <a:rPr lang="ru-RU" sz="16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600" b="1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өрсету</a:t>
            </a:r>
            <a:r>
              <a:rPr lang="ru-RU" sz="1600" b="1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endParaRPr lang="ru-RU" sz="1600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2069935" y="2413061"/>
            <a:ext cx="30514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647">
              <a:spcAft>
                <a:spcPts val="1200"/>
              </a:spcAft>
              <a:buClrTx/>
            </a:pP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мірінің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сын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ұқықтық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негіздер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ұру</a:t>
            </a:r>
            <a:endParaRPr lang="ru-RU" sz="1600" kern="12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2030180" y="3592820"/>
            <a:ext cx="30912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647">
              <a:spcBef>
                <a:spcPts val="1800"/>
              </a:spcBef>
              <a:buClrTx/>
            </a:pPr>
            <a:r>
              <a:rPr lang="ru-RU" sz="16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Әлеуметтік</a:t>
            </a:r>
            <a:r>
              <a:rPr lang="ru-RU" sz="1600" b="1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аланың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амуын</a:t>
            </a:r>
            <a:r>
              <a:rPr lang="ru-RU" sz="16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емлекеттік</a:t>
            </a:r>
            <a:r>
              <a:rPr lang="ru-RU" sz="1600" b="1" kern="1200" dirty="0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олдау</a:t>
            </a:r>
            <a:endParaRPr lang="ru-RU" sz="1600" kern="12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1" name="object 17">
            <a:extLst>
              <a:ext uri="{FF2B5EF4-FFF2-40B4-BE49-F238E27FC236}">
                <a16:creationId xmlns="" xmlns:a16="http://schemas.microsoft.com/office/drawing/2014/main" id="{3D8A53BB-C805-4B56-AD00-6A1EF08D814A}"/>
              </a:ext>
            </a:extLst>
          </p:cNvPr>
          <p:cNvSpPr/>
          <p:nvPr/>
        </p:nvSpPr>
        <p:spPr>
          <a:xfrm>
            <a:off x="564486" y="866603"/>
            <a:ext cx="1412724" cy="1174339"/>
          </a:xfrm>
          <a:custGeom>
            <a:avLst/>
            <a:gdLst/>
            <a:ahLst/>
            <a:cxnLst/>
            <a:rect l="l" t="t" r="r" b="b"/>
            <a:pathLst>
              <a:path w="2413000" h="1480185">
                <a:moveTo>
                  <a:pt x="0" y="1479803"/>
                </a:moveTo>
                <a:lnTo>
                  <a:pt x="2412492" y="1479803"/>
                </a:lnTo>
                <a:lnTo>
                  <a:pt x="2412492" y="0"/>
                </a:lnTo>
                <a:lnTo>
                  <a:pt x="0" y="0"/>
                </a:lnTo>
                <a:lnTo>
                  <a:pt x="0" y="1479803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>
            <a:solidFill>
              <a:schemeClr val="bg2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8892D13F-64EF-45D3-9D6F-F7B072FF66A8}"/>
              </a:ext>
            </a:extLst>
          </p:cNvPr>
          <p:cNvGrpSpPr/>
          <p:nvPr/>
        </p:nvGrpSpPr>
        <p:grpSpPr>
          <a:xfrm>
            <a:off x="1078456" y="1063988"/>
            <a:ext cx="361302" cy="332397"/>
            <a:chOff x="4425696" y="1371600"/>
            <a:chExt cx="449580" cy="462280"/>
          </a:xfrm>
        </p:grpSpPr>
        <p:sp>
          <p:nvSpPr>
            <p:cNvPr id="32" name="object 35">
              <a:extLst>
                <a:ext uri="{FF2B5EF4-FFF2-40B4-BE49-F238E27FC236}">
                  <a16:creationId xmlns="" xmlns:a16="http://schemas.microsoft.com/office/drawing/2014/main" id="{CA313CFB-B070-4F5F-81E9-30924CEC34B2}"/>
                </a:ext>
              </a:extLst>
            </p:cNvPr>
            <p:cNvSpPr/>
            <p:nvPr/>
          </p:nvSpPr>
          <p:spPr>
            <a:xfrm>
              <a:off x="4425696" y="1371600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80">
                  <a:moveTo>
                    <a:pt x="224790" y="0"/>
                  </a:moveTo>
                  <a:lnTo>
                    <a:pt x="179470" y="4691"/>
                  </a:lnTo>
                  <a:lnTo>
                    <a:pt x="137267" y="18145"/>
                  </a:lnTo>
                  <a:lnTo>
                    <a:pt x="99082" y="39433"/>
                  </a:lnTo>
                  <a:lnTo>
                    <a:pt x="65817" y="67627"/>
                  </a:lnTo>
                  <a:lnTo>
                    <a:pt x="38375" y="101798"/>
                  </a:lnTo>
                  <a:lnTo>
                    <a:pt x="17656" y="141017"/>
                  </a:lnTo>
                  <a:lnTo>
                    <a:pt x="4564" y="184356"/>
                  </a:lnTo>
                  <a:lnTo>
                    <a:pt x="0" y="230886"/>
                  </a:lnTo>
                  <a:lnTo>
                    <a:pt x="4564" y="277415"/>
                  </a:lnTo>
                  <a:lnTo>
                    <a:pt x="17656" y="320754"/>
                  </a:lnTo>
                  <a:lnTo>
                    <a:pt x="38375" y="359973"/>
                  </a:lnTo>
                  <a:lnTo>
                    <a:pt x="65817" y="394144"/>
                  </a:lnTo>
                  <a:lnTo>
                    <a:pt x="99082" y="422338"/>
                  </a:lnTo>
                  <a:lnTo>
                    <a:pt x="137267" y="443626"/>
                  </a:lnTo>
                  <a:lnTo>
                    <a:pt x="179470" y="457080"/>
                  </a:lnTo>
                  <a:lnTo>
                    <a:pt x="224790" y="461771"/>
                  </a:lnTo>
                  <a:lnTo>
                    <a:pt x="270109" y="457080"/>
                  </a:lnTo>
                  <a:lnTo>
                    <a:pt x="312312" y="443626"/>
                  </a:lnTo>
                  <a:lnTo>
                    <a:pt x="350497" y="422338"/>
                  </a:lnTo>
                  <a:lnTo>
                    <a:pt x="383762" y="394144"/>
                  </a:lnTo>
                  <a:lnTo>
                    <a:pt x="411204" y="359973"/>
                  </a:lnTo>
                  <a:lnTo>
                    <a:pt x="431923" y="320754"/>
                  </a:lnTo>
                  <a:lnTo>
                    <a:pt x="445015" y="277415"/>
                  </a:lnTo>
                  <a:lnTo>
                    <a:pt x="449580" y="230886"/>
                  </a:lnTo>
                  <a:lnTo>
                    <a:pt x="445015" y="184356"/>
                  </a:lnTo>
                  <a:lnTo>
                    <a:pt x="431923" y="141017"/>
                  </a:lnTo>
                  <a:lnTo>
                    <a:pt x="411204" y="101798"/>
                  </a:lnTo>
                  <a:lnTo>
                    <a:pt x="383762" y="67627"/>
                  </a:lnTo>
                  <a:lnTo>
                    <a:pt x="350497" y="39433"/>
                  </a:lnTo>
                  <a:lnTo>
                    <a:pt x="312312" y="18145"/>
                  </a:lnTo>
                  <a:lnTo>
                    <a:pt x="270109" y="4691"/>
                  </a:lnTo>
                  <a:lnTo>
                    <a:pt x="2247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bject 36">
              <a:extLst>
                <a:ext uri="{FF2B5EF4-FFF2-40B4-BE49-F238E27FC236}">
                  <a16:creationId xmlns="" xmlns:a16="http://schemas.microsoft.com/office/drawing/2014/main" id="{2481AA97-0CC4-4881-92D0-6EDEB860D920}"/>
                </a:ext>
              </a:extLst>
            </p:cNvPr>
            <p:cNvSpPr/>
            <p:nvPr/>
          </p:nvSpPr>
          <p:spPr>
            <a:xfrm>
              <a:off x="4425696" y="1371600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80">
                  <a:moveTo>
                    <a:pt x="0" y="230886"/>
                  </a:moveTo>
                  <a:lnTo>
                    <a:pt x="4564" y="184356"/>
                  </a:lnTo>
                  <a:lnTo>
                    <a:pt x="17656" y="141017"/>
                  </a:lnTo>
                  <a:lnTo>
                    <a:pt x="38375" y="101798"/>
                  </a:lnTo>
                  <a:lnTo>
                    <a:pt x="65817" y="67627"/>
                  </a:lnTo>
                  <a:lnTo>
                    <a:pt x="99082" y="39433"/>
                  </a:lnTo>
                  <a:lnTo>
                    <a:pt x="137267" y="18145"/>
                  </a:lnTo>
                  <a:lnTo>
                    <a:pt x="179470" y="4691"/>
                  </a:lnTo>
                  <a:lnTo>
                    <a:pt x="224790" y="0"/>
                  </a:lnTo>
                  <a:lnTo>
                    <a:pt x="270109" y="4691"/>
                  </a:lnTo>
                  <a:lnTo>
                    <a:pt x="312312" y="18145"/>
                  </a:lnTo>
                  <a:lnTo>
                    <a:pt x="350497" y="39433"/>
                  </a:lnTo>
                  <a:lnTo>
                    <a:pt x="383762" y="67627"/>
                  </a:lnTo>
                  <a:lnTo>
                    <a:pt x="411204" y="101798"/>
                  </a:lnTo>
                  <a:lnTo>
                    <a:pt x="431923" y="141017"/>
                  </a:lnTo>
                  <a:lnTo>
                    <a:pt x="445015" y="184356"/>
                  </a:lnTo>
                  <a:lnTo>
                    <a:pt x="449580" y="230886"/>
                  </a:lnTo>
                  <a:lnTo>
                    <a:pt x="445015" y="277415"/>
                  </a:lnTo>
                  <a:lnTo>
                    <a:pt x="431923" y="320754"/>
                  </a:lnTo>
                  <a:lnTo>
                    <a:pt x="411204" y="359973"/>
                  </a:lnTo>
                  <a:lnTo>
                    <a:pt x="383762" y="394144"/>
                  </a:lnTo>
                  <a:lnTo>
                    <a:pt x="350497" y="422338"/>
                  </a:lnTo>
                  <a:lnTo>
                    <a:pt x="312312" y="443626"/>
                  </a:lnTo>
                  <a:lnTo>
                    <a:pt x="270109" y="457080"/>
                  </a:lnTo>
                  <a:lnTo>
                    <a:pt x="224790" y="461771"/>
                  </a:lnTo>
                  <a:lnTo>
                    <a:pt x="179470" y="457080"/>
                  </a:lnTo>
                  <a:lnTo>
                    <a:pt x="137267" y="443626"/>
                  </a:lnTo>
                  <a:lnTo>
                    <a:pt x="99082" y="422338"/>
                  </a:lnTo>
                  <a:lnTo>
                    <a:pt x="65817" y="394144"/>
                  </a:lnTo>
                  <a:lnTo>
                    <a:pt x="38375" y="359973"/>
                  </a:lnTo>
                  <a:lnTo>
                    <a:pt x="17656" y="320754"/>
                  </a:lnTo>
                  <a:lnTo>
                    <a:pt x="4564" y="277415"/>
                  </a:lnTo>
                  <a:lnTo>
                    <a:pt x="0" y="23088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ject 37">
              <a:extLst>
                <a:ext uri="{FF2B5EF4-FFF2-40B4-BE49-F238E27FC236}">
                  <a16:creationId xmlns="" xmlns:a16="http://schemas.microsoft.com/office/drawing/2014/main" id="{7423B477-9E7D-4AE2-BCCB-AB195DA6ACFF}"/>
                </a:ext>
              </a:extLst>
            </p:cNvPr>
            <p:cNvSpPr/>
            <p:nvPr/>
          </p:nvSpPr>
          <p:spPr>
            <a:xfrm>
              <a:off x="4505706" y="1425703"/>
              <a:ext cx="321945" cy="318770"/>
            </a:xfrm>
            <a:custGeom>
              <a:avLst/>
              <a:gdLst/>
              <a:ahLst/>
              <a:cxnLst/>
              <a:rect l="l" t="t" r="r" b="b"/>
              <a:pathLst>
                <a:path w="321945" h="318769">
                  <a:moveTo>
                    <a:pt x="140335" y="42672"/>
                  </a:moveTo>
                  <a:lnTo>
                    <a:pt x="86106" y="52959"/>
                  </a:lnTo>
                  <a:lnTo>
                    <a:pt x="42291" y="82423"/>
                  </a:lnTo>
                  <a:lnTo>
                    <a:pt x="11937" y="126491"/>
                  </a:lnTo>
                  <a:lnTo>
                    <a:pt x="0" y="180212"/>
                  </a:lnTo>
                  <a:lnTo>
                    <a:pt x="3683" y="208152"/>
                  </a:lnTo>
                  <a:lnTo>
                    <a:pt x="25273" y="258190"/>
                  </a:lnTo>
                  <a:lnTo>
                    <a:pt x="62357" y="295021"/>
                  </a:lnTo>
                  <a:lnTo>
                    <a:pt x="112903" y="316356"/>
                  </a:lnTo>
                  <a:lnTo>
                    <a:pt x="140335" y="318515"/>
                  </a:lnTo>
                  <a:lnTo>
                    <a:pt x="168529" y="316356"/>
                  </a:lnTo>
                  <a:lnTo>
                    <a:pt x="194563" y="307466"/>
                  </a:lnTo>
                  <a:lnTo>
                    <a:pt x="200316" y="304546"/>
                  </a:lnTo>
                  <a:lnTo>
                    <a:pt x="140335" y="304546"/>
                  </a:lnTo>
                  <a:lnTo>
                    <a:pt x="111379" y="300100"/>
                  </a:lnTo>
                  <a:lnTo>
                    <a:pt x="62357" y="277367"/>
                  </a:lnTo>
                  <a:lnTo>
                    <a:pt x="28194" y="234696"/>
                  </a:lnTo>
                  <a:lnTo>
                    <a:pt x="15621" y="180212"/>
                  </a:lnTo>
                  <a:lnTo>
                    <a:pt x="18542" y="151511"/>
                  </a:lnTo>
                  <a:lnTo>
                    <a:pt x="43053" y="102997"/>
                  </a:lnTo>
                  <a:lnTo>
                    <a:pt x="86106" y="69850"/>
                  </a:lnTo>
                  <a:lnTo>
                    <a:pt x="140335" y="57403"/>
                  </a:lnTo>
                  <a:lnTo>
                    <a:pt x="194764" y="57403"/>
                  </a:lnTo>
                  <a:lnTo>
                    <a:pt x="194563" y="52959"/>
                  </a:lnTo>
                  <a:lnTo>
                    <a:pt x="168529" y="44196"/>
                  </a:lnTo>
                  <a:lnTo>
                    <a:pt x="140335" y="42672"/>
                  </a:lnTo>
                  <a:close/>
                </a:path>
                <a:path w="321945" h="318769">
                  <a:moveTo>
                    <a:pt x="252475" y="126491"/>
                  </a:moveTo>
                  <a:lnTo>
                    <a:pt x="262128" y="151511"/>
                  </a:lnTo>
                  <a:lnTo>
                    <a:pt x="265175" y="180212"/>
                  </a:lnTo>
                  <a:lnTo>
                    <a:pt x="262128" y="208914"/>
                  </a:lnTo>
                  <a:lnTo>
                    <a:pt x="238379" y="258190"/>
                  </a:lnTo>
                  <a:lnTo>
                    <a:pt x="195325" y="291973"/>
                  </a:lnTo>
                  <a:lnTo>
                    <a:pt x="140335" y="304546"/>
                  </a:lnTo>
                  <a:lnTo>
                    <a:pt x="200316" y="304546"/>
                  </a:lnTo>
                  <a:lnTo>
                    <a:pt x="239141" y="278002"/>
                  </a:lnTo>
                  <a:lnTo>
                    <a:pt x="269621" y="234696"/>
                  </a:lnTo>
                  <a:lnTo>
                    <a:pt x="280035" y="180212"/>
                  </a:lnTo>
                  <a:lnTo>
                    <a:pt x="277749" y="153035"/>
                  </a:lnTo>
                  <a:lnTo>
                    <a:pt x="269621" y="127253"/>
                  </a:lnTo>
                  <a:lnTo>
                    <a:pt x="252475" y="126491"/>
                  </a:lnTo>
                  <a:close/>
                </a:path>
                <a:path w="321945" h="318769">
                  <a:moveTo>
                    <a:pt x="140335" y="107441"/>
                  </a:moveTo>
                  <a:lnTo>
                    <a:pt x="103250" y="117728"/>
                  </a:lnTo>
                  <a:lnTo>
                    <a:pt x="69850" y="161036"/>
                  </a:lnTo>
                  <a:lnTo>
                    <a:pt x="66801" y="180212"/>
                  </a:lnTo>
                  <a:lnTo>
                    <a:pt x="69850" y="199389"/>
                  </a:lnTo>
                  <a:lnTo>
                    <a:pt x="103250" y="242697"/>
                  </a:lnTo>
                  <a:lnTo>
                    <a:pt x="140335" y="253746"/>
                  </a:lnTo>
                  <a:lnTo>
                    <a:pt x="159638" y="250062"/>
                  </a:lnTo>
                  <a:lnTo>
                    <a:pt x="177546" y="242697"/>
                  </a:lnTo>
                  <a:lnTo>
                    <a:pt x="182865" y="239013"/>
                  </a:lnTo>
                  <a:lnTo>
                    <a:pt x="140335" y="239013"/>
                  </a:lnTo>
                  <a:lnTo>
                    <a:pt x="121031" y="235330"/>
                  </a:lnTo>
                  <a:lnTo>
                    <a:pt x="105410" y="227329"/>
                  </a:lnTo>
                  <a:lnTo>
                    <a:pt x="93599" y="214122"/>
                  </a:lnTo>
                  <a:lnTo>
                    <a:pt x="84709" y="198627"/>
                  </a:lnTo>
                  <a:lnTo>
                    <a:pt x="81661" y="180212"/>
                  </a:lnTo>
                  <a:lnTo>
                    <a:pt x="84709" y="162560"/>
                  </a:lnTo>
                  <a:lnTo>
                    <a:pt x="93599" y="146430"/>
                  </a:lnTo>
                  <a:lnTo>
                    <a:pt x="105410" y="133858"/>
                  </a:lnTo>
                  <a:lnTo>
                    <a:pt x="121031" y="125094"/>
                  </a:lnTo>
                  <a:lnTo>
                    <a:pt x="140335" y="122047"/>
                  </a:lnTo>
                  <a:lnTo>
                    <a:pt x="162414" y="122047"/>
                  </a:lnTo>
                  <a:lnTo>
                    <a:pt x="170814" y="114808"/>
                  </a:lnTo>
                  <a:lnTo>
                    <a:pt x="155956" y="108838"/>
                  </a:lnTo>
                  <a:lnTo>
                    <a:pt x="140335" y="107441"/>
                  </a:lnTo>
                  <a:close/>
                </a:path>
                <a:path w="321945" h="318769">
                  <a:moveTo>
                    <a:pt x="207137" y="150749"/>
                  </a:moveTo>
                  <a:lnTo>
                    <a:pt x="196850" y="162560"/>
                  </a:lnTo>
                  <a:lnTo>
                    <a:pt x="198247" y="180212"/>
                  </a:lnTo>
                  <a:lnTo>
                    <a:pt x="196850" y="198627"/>
                  </a:lnTo>
                  <a:lnTo>
                    <a:pt x="187833" y="214122"/>
                  </a:lnTo>
                  <a:lnTo>
                    <a:pt x="175260" y="227329"/>
                  </a:lnTo>
                  <a:lnTo>
                    <a:pt x="158876" y="235330"/>
                  </a:lnTo>
                  <a:lnTo>
                    <a:pt x="140335" y="239013"/>
                  </a:lnTo>
                  <a:lnTo>
                    <a:pt x="182865" y="239013"/>
                  </a:lnTo>
                  <a:lnTo>
                    <a:pt x="192405" y="232410"/>
                  </a:lnTo>
                  <a:lnTo>
                    <a:pt x="204216" y="217677"/>
                  </a:lnTo>
                  <a:lnTo>
                    <a:pt x="211709" y="199389"/>
                  </a:lnTo>
                  <a:lnTo>
                    <a:pt x="213868" y="180212"/>
                  </a:lnTo>
                  <a:lnTo>
                    <a:pt x="212344" y="165480"/>
                  </a:lnTo>
                  <a:lnTo>
                    <a:pt x="207137" y="150749"/>
                  </a:lnTo>
                  <a:close/>
                </a:path>
                <a:path w="321945" h="318769">
                  <a:moveTo>
                    <a:pt x="263651" y="0"/>
                  </a:moveTo>
                  <a:lnTo>
                    <a:pt x="262128" y="762"/>
                  </a:lnTo>
                  <a:lnTo>
                    <a:pt x="258445" y="2921"/>
                  </a:lnTo>
                  <a:lnTo>
                    <a:pt x="214630" y="46354"/>
                  </a:lnTo>
                  <a:lnTo>
                    <a:pt x="213868" y="48513"/>
                  </a:lnTo>
                  <a:lnTo>
                    <a:pt x="212344" y="52197"/>
                  </a:lnTo>
                  <a:lnTo>
                    <a:pt x="215392" y="95630"/>
                  </a:lnTo>
                  <a:lnTo>
                    <a:pt x="132969" y="177291"/>
                  </a:lnTo>
                  <a:lnTo>
                    <a:pt x="132969" y="183896"/>
                  </a:lnTo>
                  <a:lnTo>
                    <a:pt x="135128" y="185419"/>
                  </a:lnTo>
                  <a:lnTo>
                    <a:pt x="137413" y="187578"/>
                  </a:lnTo>
                  <a:lnTo>
                    <a:pt x="142621" y="187578"/>
                  </a:lnTo>
                  <a:lnTo>
                    <a:pt x="146304" y="185419"/>
                  </a:lnTo>
                  <a:lnTo>
                    <a:pt x="226568" y="105917"/>
                  </a:lnTo>
                  <a:lnTo>
                    <a:pt x="276974" y="105917"/>
                  </a:lnTo>
                  <a:lnTo>
                    <a:pt x="289314" y="93472"/>
                  </a:lnTo>
                  <a:lnTo>
                    <a:pt x="268097" y="93472"/>
                  </a:lnTo>
                  <a:lnTo>
                    <a:pt x="231012" y="91186"/>
                  </a:lnTo>
                  <a:lnTo>
                    <a:pt x="227203" y="53721"/>
                  </a:lnTo>
                  <a:lnTo>
                    <a:pt x="257683" y="24256"/>
                  </a:lnTo>
                  <a:lnTo>
                    <a:pt x="273054" y="24256"/>
                  </a:lnTo>
                  <a:lnTo>
                    <a:pt x="271780" y="7365"/>
                  </a:lnTo>
                  <a:lnTo>
                    <a:pt x="271780" y="4444"/>
                  </a:lnTo>
                  <a:lnTo>
                    <a:pt x="269621" y="2159"/>
                  </a:lnTo>
                  <a:lnTo>
                    <a:pt x="267335" y="762"/>
                  </a:lnTo>
                  <a:lnTo>
                    <a:pt x="263651" y="0"/>
                  </a:lnTo>
                  <a:close/>
                </a:path>
                <a:path w="321945" h="318769">
                  <a:moveTo>
                    <a:pt x="162414" y="122047"/>
                  </a:moveTo>
                  <a:lnTo>
                    <a:pt x="140335" y="122047"/>
                  </a:lnTo>
                  <a:lnTo>
                    <a:pt x="158876" y="125094"/>
                  </a:lnTo>
                  <a:lnTo>
                    <a:pt x="162414" y="122047"/>
                  </a:lnTo>
                  <a:close/>
                </a:path>
                <a:path w="321945" h="318769">
                  <a:moveTo>
                    <a:pt x="276974" y="105917"/>
                  </a:moveTo>
                  <a:lnTo>
                    <a:pt x="226568" y="105917"/>
                  </a:lnTo>
                  <a:lnTo>
                    <a:pt x="270383" y="108838"/>
                  </a:lnTo>
                  <a:lnTo>
                    <a:pt x="273304" y="108076"/>
                  </a:lnTo>
                  <a:lnTo>
                    <a:pt x="275463" y="107441"/>
                  </a:lnTo>
                  <a:lnTo>
                    <a:pt x="276974" y="105917"/>
                  </a:lnTo>
                  <a:close/>
                </a:path>
                <a:path w="321945" h="318769">
                  <a:moveTo>
                    <a:pt x="273054" y="24256"/>
                  </a:moveTo>
                  <a:lnTo>
                    <a:pt x="257683" y="24256"/>
                  </a:lnTo>
                  <a:lnTo>
                    <a:pt x="259969" y="55117"/>
                  </a:lnTo>
                  <a:lnTo>
                    <a:pt x="260604" y="57403"/>
                  </a:lnTo>
                  <a:lnTo>
                    <a:pt x="262128" y="59562"/>
                  </a:lnTo>
                  <a:lnTo>
                    <a:pt x="263651" y="61849"/>
                  </a:lnTo>
                  <a:lnTo>
                    <a:pt x="267335" y="61849"/>
                  </a:lnTo>
                  <a:lnTo>
                    <a:pt x="298576" y="63246"/>
                  </a:lnTo>
                  <a:lnTo>
                    <a:pt x="268097" y="93472"/>
                  </a:lnTo>
                  <a:lnTo>
                    <a:pt x="289314" y="93472"/>
                  </a:lnTo>
                  <a:lnTo>
                    <a:pt x="320039" y="62484"/>
                  </a:lnTo>
                  <a:lnTo>
                    <a:pt x="321563" y="60325"/>
                  </a:lnTo>
                  <a:lnTo>
                    <a:pt x="321563" y="55117"/>
                  </a:lnTo>
                  <a:lnTo>
                    <a:pt x="320801" y="52959"/>
                  </a:lnTo>
                  <a:lnTo>
                    <a:pt x="317881" y="50800"/>
                  </a:lnTo>
                  <a:lnTo>
                    <a:pt x="315595" y="50800"/>
                  </a:lnTo>
                  <a:lnTo>
                    <a:pt x="274828" y="47751"/>
                  </a:lnTo>
                  <a:lnTo>
                    <a:pt x="273054" y="24256"/>
                  </a:lnTo>
                  <a:close/>
                </a:path>
                <a:path w="321945" h="318769">
                  <a:moveTo>
                    <a:pt x="194764" y="57403"/>
                  </a:moveTo>
                  <a:lnTo>
                    <a:pt x="140335" y="57403"/>
                  </a:lnTo>
                  <a:lnTo>
                    <a:pt x="168529" y="60325"/>
                  </a:lnTo>
                  <a:lnTo>
                    <a:pt x="195325" y="69850"/>
                  </a:lnTo>
                  <a:lnTo>
                    <a:pt x="194764" y="5740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bject 38">
              <a:extLst>
                <a:ext uri="{FF2B5EF4-FFF2-40B4-BE49-F238E27FC236}">
                  <a16:creationId xmlns="" xmlns:a16="http://schemas.microsoft.com/office/drawing/2014/main" id="{990B43BF-9449-4E9A-86A7-0F2E47D0EDB7}"/>
                </a:ext>
              </a:extLst>
            </p:cNvPr>
            <p:cNvSpPr/>
            <p:nvPr/>
          </p:nvSpPr>
          <p:spPr>
            <a:xfrm>
              <a:off x="4505706" y="1468375"/>
              <a:ext cx="280035" cy="276225"/>
            </a:xfrm>
            <a:custGeom>
              <a:avLst/>
              <a:gdLst/>
              <a:ahLst/>
              <a:cxnLst/>
              <a:rect l="l" t="t" r="r" b="b"/>
              <a:pathLst>
                <a:path w="280035" h="276225">
                  <a:moveTo>
                    <a:pt x="269621" y="84581"/>
                  </a:moveTo>
                  <a:lnTo>
                    <a:pt x="252475" y="83819"/>
                  </a:lnTo>
                  <a:lnTo>
                    <a:pt x="262128" y="108838"/>
                  </a:lnTo>
                  <a:lnTo>
                    <a:pt x="265175" y="137540"/>
                  </a:lnTo>
                  <a:lnTo>
                    <a:pt x="252475" y="192024"/>
                  </a:lnTo>
                  <a:lnTo>
                    <a:pt x="219075" y="234695"/>
                  </a:lnTo>
                  <a:lnTo>
                    <a:pt x="168529" y="257428"/>
                  </a:lnTo>
                  <a:lnTo>
                    <a:pt x="140335" y="261874"/>
                  </a:lnTo>
                  <a:lnTo>
                    <a:pt x="111379" y="257428"/>
                  </a:lnTo>
                  <a:lnTo>
                    <a:pt x="62357" y="234695"/>
                  </a:lnTo>
                  <a:lnTo>
                    <a:pt x="28194" y="192024"/>
                  </a:lnTo>
                  <a:lnTo>
                    <a:pt x="15621" y="137540"/>
                  </a:lnTo>
                  <a:lnTo>
                    <a:pt x="18542" y="108838"/>
                  </a:lnTo>
                  <a:lnTo>
                    <a:pt x="43053" y="60325"/>
                  </a:lnTo>
                  <a:lnTo>
                    <a:pt x="86106" y="27177"/>
                  </a:lnTo>
                  <a:lnTo>
                    <a:pt x="140335" y="14731"/>
                  </a:lnTo>
                  <a:lnTo>
                    <a:pt x="168529" y="17652"/>
                  </a:lnTo>
                  <a:lnTo>
                    <a:pt x="195325" y="27177"/>
                  </a:lnTo>
                  <a:lnTo>
                    <a:pt x="194563" y="10287"/>
                  </a:lnTo>
                  <a:lnTo>
                    <a:pt x="168529" y="1524"/>
                  </a:lnTo>
                  <a:lnTo>
                    <a:pt x="140335" y="0"/>
                  </a:lnTo>
                  <a:lnTo>
                    <a:pt x="112903" y="1524"/>
                  </a:lnTo>
                  <a:lnTo>
                    <a:pt x="62357" y="22859"/>
                  </a:lnTo>
                  <a:lnTo>
                    <a:pt x="25273" y="60325"/>
                  </a:lnTo>
                  <a:lnTo>
                    <a:pt x="3683" y="110362"/>
                  </a:lnTo>
                  <a:lnTo>
                    <a:pt x="0" y="137540"/>
                  </a:lnTo>
                  <a:lnTo>
                    <a:pt x="3683" y="165480"/>
                  </a:lnTo>
                  <a:lnTo>
                    <a:pt x="25273" y="215518"/>
                  </a:lnTo>
                  <a:lnTo>
                    <a:pt x="62357" y="252349"/>
                  </a:lnTo>
                  <a:lnTo>
                    <a:pt x="112903" y="273684"/>
                  </a:lnTo>
                  <a:lnTo>
                    <a:pt x="140335" y="275843"/>
                  </a:lnTo>
                  <a:lnTo>
                    <a:pt x="168529" y="273684"/>
                  </a:lnTo>
                  <a:lnTo>
                    <a:pt x="219075" y="252349"/>
                  </a:lnTo>
                  <a:lnTo>
                    <a:pt x="256159" y="215518"/>
                  </a:lnTo>
                  <a:lnTo>
                    <a:pt x="276987" y="165480"/>
                  </a:lnTo>
                  <a:lnTo>
                    <a:pt x="280035" y="137540"/>
                  </a:lnTo>
                  <a:lnTo>
                    <a:pt x="277749" y="110362"/>
                  </a:lnTo>
                  <a:lnTo>
                    <a:pt x="269621" y="84581"/>
                  </a:lnTo>
                  <a:close/>
                </a:path>
              </a:pathLst>
            </a:custGeom>
            <a:ln w="3175">
              <a:solidFill>
                <a:srgbClr val="0064B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object 39">
              <a:extLst>
                <a:ext uri="{FF2B5EF4-FFF2-40B4-BE49-F238E27FC236}">
                  <a16:creationId xmlns="" xmlns:a16="http://schemas.microsoft.com/office/drawing/2014/main" id="{497F416A-763A-42AF-83D4-4AE9E6D9176C}"/>
                </a:ext>
              </a:extLst>
            </p:cNvPr>
            <p:cNvSpPr/>
            <p:nvPr/>
          </p:nvSpPr>
          <p:spPr>
            <a:xfrm>
              <a:off x="4571619" y="1424814"/>
              <a:ext cx="256539" cy="2555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object 4"/>
          <p:cNvSpPr txBox="1">
            <a:spLocks/>
          </p:cNvSpPr>
          <p:nvPr/>
        </p:nvSpPr>
        <p:spPr>
          <a:xfrm>
            <a:off x="633055" y="1477815"/>
            <a:ext cx="1288694" cy="314116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ақсаты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8" name="object 17">
            <a:extLst>
              <a:ext uri="{FF2B5EF4-FFF2-40B4-BE49-F238E27FC236}">
                <a16:creationId xmlns="" xmlns:a16="http://schemas.microsoft.com/office/drawing/2014/main" id="{EB1841FC-8BB7-4132-A721-F684B2E55986}"/>
              </a:ext>
            </a:extLst>
          </p:cNvPr>
          <p:cNvSpPr/>
          <p:nvPr/>
        </p:nvSpPr>
        <p:spPr>
          <a:xfrm>
            <a:off x="571040" y="2345094"/>
            <a:ext cx="1412724" cy="2266842"/>
          </a:xfrm>
          <a:custGeom>
            <a:avLst/>
            <a:gdLst/>
            <a:ahLst/>
            <a:cxnLst/>
            <a:rect l="l" t="t" r="r" b="b"/>
            <a:pathLst>
              <a:path w="2413000" h="1480185">
                <a:moveTo>
                  <a:pt x="0" y="1479803"/>
                </a:moveTo>
                <a:lnTo>
                  <a:pt x="2412492" y="1479803"/>
                </a:lnTo>
                <a:lnTo>
                  <a:pt x="2412492" y="0"/>
                </a:lnTo>
                <a:lnTo>
                  <a:pt x="0" y="0"/>
                </a:lnTo>
                <a:lnTo>
                  <a:pt x="0" y="1479803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>
            <a:solidFill>
              <a:schemeClr val="bg2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B6D46AC2-EE67-4412-8BC7-FD2CD8B48FED}"/>
              </a:ext>
            </a:extLst>
          </p:cNvPr>
          <p:cNvGrpSpPr/>
          <p:nvPr/>
        </p:nvGrpSpPr>
        <p:grpSpPr>
          <a:xfrm>
            <a:off x="1066873" y="2883681"/>
            <a:ext cx="449580" cy="462280"/>
            <a:chOff x="934586" y="2956945"/>
            <a:chExt cx="449580" cy="462280"/>
          </a:xfrm>
        </p:grpSpPr>
        <p:sp>
          <p:nvSpPr>
            <p:cNvPr id="39" name="object 40">
              <a:extLst>
                <a:ext uri="{FF2B5EF4-FFF2-40B4-BE49-F238E27FC236}">
                  <a16:creationId xmlns="" xmlns:a16="http://schemas.microsoft.com/office/drawing/2014/main" id="{46C986DC-EB94-45FC-8CDE-3131AD4E5C6E}"/>
                </a:ext>
              </a:extLst>
            </p:cNvPr>
            <p:cNvSpPr/>
            <p:nvPr/>
          </p:nvSpPr>
          <p:spPr>
            <a:xfrm>
              <a:off x="934586" y="2956945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79">
                  <a:moveTo>
                    <a:pt x="224790" y="0"/>
                  </a:moveTo>
                  <a:lnTo>
                    <a:pt x="179470" y="4691"/>
                  </a:lnTo>
                  <a:lnTo>
                    <a:pt x="137267" y="18145"/>
                  </a:lnTo>
                  <a:lnTo>
                    <a:pt x="99082" y="39433"/>
                  </a:lnTo>
                  <a:lnTo>
                    <a:pt x="65817" y="67627"/>
                  </a:lnTo>
                  <a:lnTo>
                    <a:pt x="38375" y="101798"/>
                  </a:lnTo>
                  <a:lnTo>
                    <a:pt x="17656" y="141017"/>
                  </a:lnTo>
                  <a:lnTo>
                    <a:pt x="4564" y="184356"/>
                  </a:lnTo>
                  <a:lnTo>
                    <a:pt x="0" y="230885"/>
                  </a:lnTo>
                  <a:lnTo>
                    <a:pt x="4564" y="277415"/>
                  </a:lnTo>
                  <a:lnTo>
                    <a:pt x="17656" y="320754"/>
                  </a:lnTo>
                  <a:lnTo>
                    <a:pt x="38375" y="359973"/>
                  </a:lnTo>
                  <a:lnTo>
                    <a:pt x="65817" y="394144"/>
                  </a:lnTo>
                  <a:lnTo>
                    <a:pt x="99082" y="422338"/>
                  </a:lnTo>
                  <a:lnTo>
                    <a:pt x="137267" y="443626"/>
                  </a:lnTo>
                  <a:lnTo>
                    <a:pt x="179470" y="457080"/>
                  </a:lnTo>
                  <a:lnTo>
                    <a:pt x="224790" y="461771"/>
                  </a:lnTo>
                  <a:lnTo>
                    <a:pt x="270109" y="457080"/>
                  </a:lnTo>
                  <a:lnTo>
                    <a:pt x="312312" y="443626"/>
                  </a:lnTo>
                  <a:lnTo>
                    <a:pt x="350497" y="422338"/>
                  </a:lnTo>
                  <a:lnTo>
                    <a:pt x="383762" y="394144"/>
                  </a:lnTo>
                  <a:lnTo>
                    <a:pt x="411204" y="359973"/>
                  </a:lnTo>
                  <a:lnTo>
                    <a:pt x="431923" y="320754"/>
                  </a:lnTo>
                  <a:lnTo>
                    <a:pt x="445015" y="277415"/>
                  </a:lnTo>
                  <a:lnTo>
                    <a:pt x="449580" y="230885"/>
                  </a:lnTo>
                  <a:lnTo>
                    <a:pt x="445015" y="184356"/>
                  </a:lnTo>
                  <a:lnTo>
                    <a:pt x="431923" y="141017"/>
                  </a:lnTo>
                  <a:lnTo>
                    <a:pt x="411204" y="101798"/>
                  </a:lnTo>
                  <a:lnTo>
                    <a:pt x="383762" y="67627"/>
                  </a:lnTo>
                  <a:lnTo>
                    <a:pt x="350497" y="39433"/>
                  </a:lnTo>
                  <a:lnTo>
                    <a:pt x="312312" y="18145"/>
                  </a:lnTo>
                  <a:lnTo>
                    <a:pt x="270109" y="4691"/>
                  </a:lnTo>
                  <a:lnTo>
                    <a:pt x="2247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bject 41">
              <a:extLst>
                <a:ext uri="{FF2B5EF4-FFF2-40B4-BE49-F238E27FC236}">
                  <a16:creationId xmlns="" xmlns:a16="http://schemas.microsoft.com/office/drawing/2014/main" id="{6CB43AF1-D1F2-4F6A-AA1E-0C68713C1098}"/>
                </a:ext>
              </a:extLst>
            </p:cNvPr>
            <p:cNvSpPr/>
            <p:nvPr/>
          </p:nvSpPr>
          <p:spPr>
            <a:xfrm>
              <a:off x="934586" y="2956945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79">
                  <a:moveTo>
                    <a:pt x="0" y="230885"/>
                  </a:moveTo>
                  <a:lnTo>
                    <a:pt x="4564" y="184356"/>
                  </a:lnTo>
                  <a:lnTo>
                    <a:pt x="17656" y="141017"/>
                  </a:lnTo>
                  <a:lnTo>
                    <a:pt x="38375" y="101798"/>
                  </a:lnTo>
                  <a:lnTo>
                    <a:pt x="65817" y="67627"/>
                  </a:lnTo>
                  <a:lnTo>
                    <a:pt x="99082" y="39433"/>
                  </a:lnTo>
                  <a:lnTo>
                    <a:pt x="137267" y="18145"/>
                  </a:lnTo>
                  <a:lnTo>
                    <a:pt x="179470" y="4691"/>
                  </a:lnTo>
                  <a:lnTo>
                    <a:pt x="224790" y="0"/>
                  </a:lnTo>
                  <a:lnTo>
                    <a:pt x="270109" y="4691"/>
                  </a:lnTo>
                  <a:lnTo>
                    <a:pt x="312312" y="18145"/>
                  </a:lnTo>
                  <a:lnTo>
                    <a:pt x="350497" y="39433"/>
                  </a:lnTo>
                  <a:lnTo>
                    <a:pt x="383762" y="67627"/>
                  </a:lnTo>
                  <a:lnTo>
                    <a:pt x="411204" y="101798"/>
                  </a:lnTo>
                  <a:lnTo>
                    <a:pt x="431923" y="141017"/>
                  </a:lnTo>
                  <a:lnTo>
                    <a:pt x="445015" y="184356"/>
                  </a:lnTo>
                  <a:lnTo>
                    <a:pt x="449580" y="230885"/>
                  </a:lnTo>
                  <a:lnTo>
                    <a:pt x="445015" y="277415"/>
                  </a:lnTo>
                  <a:lnTo>
                    <a:pt x="431923" y="320754"/>
                  </a:lnTo>
                  <a:lnTo>
                    <a:pt x="411204" y="359973"/>
                  </a:lnTo>
                  <a:lnTo>
                    <a:pt x="383762" y="394144"/>
                  </a:lnTo>
                  <a:lnTo>
                    <a:pt x="350497" y="422338"/>
                  </a:lnTo>
                  <a:lnTo>
                    <a:pt x="312312" y="443626"/>
                  </a:lnTo>
                  <a:lnTo>
                    <a:pt x="270109" y="457080"/>
                  </a:lnTo>
                  <a:lnTo>
                    <a:pt x="224790" y="461771"/>
                  </a:lnTo>
                  <a:lnTo>
                    <a:pt x="179470" y="457080"/>
                  </a:lnTo>
                  <a:lnTo>
                    <a:pt x="137267" y="443626"/>
                  </a:lnTo>
                  <a:lnTo>
                    <a:pt x="99082" y="422338"/>
                  </a:lnTo>
                  <a:lnTo>
                    <a:pt x="65817" y="394144"/>
                  </a:lnTo>
                  <a:lnTo>
                    <a:pt x="38375" y="359973"/>
                  </a:lnTo>
                  <a:lnTo>
                    <a:pt x="17656" y="320754"/>
                  </a:lnTo>
                  <a:lnTo>
                    <a:pt x="4564" y="277415"/>
                  </a:lnTo>
                  <a:lnTo>
                    <a:pt x="0" y="230885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object 42">
              <a:extLst>
                <a:ext uri="{FF2B5EF4-FFF2-40B4-BE49-F238E27FC236}">
                  <a16:creationId xmlns="" xmlns:a16="http://schemas.microsoft.com/office/drawing/2014/main" id="{92684421-14FB-40FB-BD38-A4CEE96D6A38}"/>
                </a:ext>
              </a:extLst>
            </p:cNvPr>
            <p:cNvSpPr/>
            <p:nvPr/>
          </p:nvSpPr>
          <p:spPr>
            <a:xfrm>
              <a:off x="980307" y="3014857"/>
              <a:ext cx="344424" cy="34442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object 4"/>
          <p:cNvSpPr txBox="1">
            <a:spLocks/>
          </p:cNvSpPr>
          <p:nvPr/>
        </p:nvSpPr>
        <p:spPr>
          <a:xfrm>
            <a:off x="640487" y="3557959"/>
            <a:ext cx="1267301" cy="314116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Міндеті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85AED98E-3614-4805-B562-634B956722B1}"/>
              </a:ext>
            </a:extLst>
          </p:cNvPr>
          <p:cNvGrpSpPr/>
          <p:nvPr/>
        </p:nvGrpSpPr>
        <p:grpSpPr>
          <a:xfrm>
            <a:off x="5127006" y="2475239"/>
            <a:ext cx="210920" cy="667305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54" name="Шеврон 20">
              <a:extLst>
                <a:ext uri="{FF2B5EF4-FFF2-40B4-BE49-F238E27FC236}">
                  <a16:creationId xmlns="" xmlns:a16="http://schemas.microsoft.com/office/drawing/2014/main" id="{775341CC-E6D9-421D-AB88-C1A6F405028A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Шеврон 71">
              <a:extLst>
                <a:ext uri="{FF2B5EF4-FFF2-40B4-BE49-F238E27FC236}">
                  <a16:creationId xmlns="" xmlns:a16="http://schemas.microsoft.com/office/drawing/2014/main" id="{18B39A61-ABAE-4F65-9CC1-CDFED536C96B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46A4"/>
            </a:solidFill>
            <a:ln w="9525">
              <a:solidFill>
                <a:srgbClr val="0046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="" xmlns:a16="http://schemas.microsoft.com/office/drawing/2014/main" id="{E7D0DE2A-EA68-4752-B9C9-E7566DA54395}"/>
              </a:ext>
            </a:extLst>
          </p:cNvPr>
          <p:cNvGrpSpPr/>
          <p:nvPr/>
        </p:nvGrpSpPr>
        <p:grpSpPr>
          <a:xfrm>
            <a:off x="5142082" y="3531545"/>
            <a:ext cx="210920" cy="977002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1" name="Шеврон 20">
              <a:extLst>
                <a:ext uri="{FF2B5EF4-FFF2-40B4-BE49-F238E27FC236}">
                  <a16:creationId xmlns="" xmlns:a16="http://schemas.microsoft.com/office/drawing/2014/main" id="{4A05811F-BB99-4CE8-B506-F1630F2958F6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Шеврон 71">
              <a:extLst>
                <a:ext uri="{FF2B5EF4-FFF2-40B4-BE49-F238E27FC236}">
                  <a16:creationId xmlns="" xmlns:a16="http://schemas.microsoft.com/office/drawing/2014/main" id="{13B486D1-6EAB-433D-9789-28B03DFD8AED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46A4"/>
            </a:solidFill>
            <a:ln w="9525">
              <a:solidFill>
                <a:srgbClr val="0046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7895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object 4"/>
          <p:cNvSpPr txBox="1">
            <a:spLocks/>
          </p:cNvSpPr>
          <p:nvPr/>
        </p:nvSpPr>
        <p:spPr>
          <a:xfrm>
            <a:off x="2" y="52389"/>
            <a:ext cx="9143999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alt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lang="ru-RU" alt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alt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кодекстің</a:t>
            </a:r>
            <a:r>
              <a:rPr lang="ru-RU" alt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300" b="1" kern="1200" dirty="0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300" b="1" kern="1200" dirty="0" err="1" smtClean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қағидаттары</a:t>
            </a:r>
            <a:endParaRPr lang="ru-RU" sz="2300" b="1" kern="1200" dirty="0">
              <a:solidFill>
                <a:srgbClr val="00206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845730" y="833436"/>
            <a:ext cx="7712574" cy="42393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1" numCol="1" spcCol="1270" anchor="ctr" anchorCtr="0">
            <a:noAutofit/>
          </a:bodyPr>
          <a:lstStyle/>
          <a:p>
            <a:pPr marL="92075" algn="just" fontAlgn="base"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Pct val="200000"/>
            </a:pPr>
            <a:r>
              <a:rPr lang="ru-RU" sz="1400" b="1" kern="1200" dirty="0" err="1" smtClean="0">
                <a:solidFill>
                  <a:srgbClr val="002060"/>
                </a:solidFill>
                <a:sym typeface="Roboto"/>
              </a:rPr>
              <a:t>Әлеуметтік</a:t>
            </a:r>
            <a:r>
              <a:rPr lang="ru-RU" sz="1400" b="1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dirty="0" err="1" smtClean="0">
                <a:solidFill>
                  <a:srgbClr val="002060"/>
                </a:solidFill>
                <a:sym typeface="Roboto"/>
              </a:rPr>
              <a:t>көмек</a:t>
            </a:r>
            <a:r>
              <a:rPr lang="ru-RU" sz="1400" b="1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dirty="0" err="1" smtClean="0">
                <a:solidFill>
                  <a:srgbClr val="002060"/>
                </a:solidFill>
                <a:sym typeface="Roboto"/>
              </a:rPr>
              <a:t>көрсетудің</a:t>
            </a:r>
            <a:r>
              <a:rPr lang="ru-RU" sz="1400" b="1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Атаулылығы</a:t>
            </a:r>
            <a:r>
              <a:rPr 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 </a:t>
            </a:r>
            <a:r>
              <a:rPr lang="ru-RU" sz="1400" kern="1200" dirty="0" err="1">
                <a:solidFill>
                  <a:srgbClr val="002060"/>
                </a:solidFill>
                <a:sym typeface="Roboto"/>
              </a:rPr>
              <a:t>және</a:t>
            </a:r>
            <a:r>
              <a:rPr lang="ru-RU" sz="1400" b="1" kern="1200" dirty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САРАЛАНҒАН </a:t>
            </a:r>
            <a:r>
              <a:rPr 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тәсіл</a:t>
            </a:r>
            <a:r>
              <a:rPr 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 </a:t>
            </a:r>
            <a:r>
              <a:rPr lang="ru-RU" i="1" kern="1200" dirty="0" smtClean="0">
                <a:solidFill>
                  <a:srgbClr val="002060"/>
                </a:solidFill>
                <a:sym typeface="Roboto"/>
              </a:rPr>
              <a:t>(</a:t>
            </a:r>
            <a:r>
              <a:rPr lang="ru-RU" i="1" kern="1200" dirty="0" err="1" smtClean="0">
                <a:solidFill>
                  <a:srgbClr val="002060"/>
                </a:solidFill>
                <a:sym typeface="Roboto"/>
              </a:rPr>
              <a:t>қажеттілікті</a:t>
            </a:r>
            <a:r>
              <a:rPr lang="ru-RU" i="1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i="1" kern="1200" dirty="0" err="1" smtClean="0">
                <a:solidFill>
                  <a:srgbClr val="002060"/>
                </a:solidFill>
                <a:sym typeface="Roboto"/>
              </a:rPr>
              <a:t>ескеру</a:t>
            </a:r>
            <a:r>
              <a:rPr lang="ru-RU" i="1" kern="1200" dirty="0" smtClean="0">
                <a:solidFill>
                  <a:srgbClr val="002060"/>
                </a:solidFill>
                <a:sym typeface="Roboto"/>
              </a:rPr>
              <a:t>)</a:t>
            </a:r>
            <a:endParaRPr lang="ru-RU" i="1" kern="1200" dirty="0">
              <a:solidFill>
                <a:srgbClr val="002060"/>
              </a:solidFill>
              <a:sym typeface="Roboto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65135" y="833435"/>
            <a:ext cx="571584" cy="447491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3" name="Полилиния 12"/>
          <p:cNvSpPr/>
          <p:nvPr/>
        </p:nvSpPr>
        <p:spPr>
          <a:xfrm>
            <a:off x="845730" y="1396990"/>
            <a:ext cx="7712574" cy="39490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1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400" b="1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</a:rPr>
              <a:t>тәуекелдердің</a:t>
            </a:r>
            <a:r>
              <a:rPr lang="ru-RU" altLang="ru-RU" sz="1400" b="1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ПрофилактикаСЫ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және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олардың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Алдын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алу</a:t>
            </a:r>
            <a:endParaRPr lang="ru-RU" altLang="ru-RU" sz="1400" kern="1200" dirty="0">
              <a:solidFill>
                <a:srgbClr val="002060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658206" y="1372331"/>
            <a:ext cx="555624" cy="455623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5" name="Полилиния 14"/>
          <p:cNvSpPr/>
          <p:nvPr/>
        </p:nvSpPr>
        <p:spPr>
          <a:xfrm>
            <a:off x="845730" y="1936498"/>
            <a:ext cx="7712574" cy="486712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kern="1200" dirty="0" err="1" smtClean="0">
                <a:solidFill>
                  <a:srgbClr val="002060"/>
                </a:solidFill>
              </a:rPr>
              <a:t>Мемлекет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,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жұмыс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беруші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және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азаматтардың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ортақ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жауапКЕРШІЛІГІ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altLang="ru-RU" sz="1400" kern="1200" dirty="0">
              <a:solidFill>
                <a:srgbClr val="002060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65142" y="1942507"/>
            <a:ext cx="571585" cy="48223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7" name="Полилиния 16"/>
          <p:cNvSpPr/>
          <p:nvPr/>
        </p:nvSpPr>
        <p:spPr>
          <a:xfrm>
            <a:off x="845732" y="2566166"/>
            <a:ext cx="7712572" cy="459845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kern="1200" dirty="0" err="1" smtClean="0">
                <a:solidFill>
                  <a:srgbClr val="002060"/>
                </a:solidFill>
              </a:rPr>
              <a:t>Экономикалық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ресурстар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мен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саясаттың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тепе-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теңдігі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altLang="ru-RU" sz="1400" kern="1200" dirty="0">
              <a:solidFill>
                <a:srgbClr val="002060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665135" y="2548131"/>
            <a:ext cx="548696" cy="48223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9" name="Полилиния 18"/>
          <p:cNvSpPr/>
          <p:nvPr/>
        </p:nvSpPr>
        <p:spPr>
          <a:xfrm>
            <a:off x="845732" y="3191182"/>
            <a:ext cx="7712572" cy="434337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kern="12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саясаттың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Инклюзивтілігі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altLang="ru-RU" sz="1400" i="1" kern="1200" dirty="0" smtClean="0">
                <a:solidFill>
                  <a:srgbClr val="002060"/>
                </a:solidFill>
              </a:rPr>
              <a:t>(</a:t>
            </a:r>
            <a:r>
              <a:rPr lang="kk-KZ" altLang="ru-RU" sz="1400" i="1" kern="1200" dirty="0" smtClean="0">
                <a:solidFill>
                  <a:srgbClr val="002060"/>
                </a:solidFill>
              </a:rPr>
              <a:t>теңдік</a:t>
            </a:r>
            <a:r>
              <a:rPr lang="en-US" altLang="ru-RU" sz="1400" i="1" kern="1200" dirty="0" smtClean="0">
                <a:solidFill>
                  <a:srgbClr val="002060"/>
                </a:solidFill>
              </a:rPr>
              <a:t>)</a:t>
            </a:r>
            <a:endParaRPr lang="ru-RU" altLang="ru-RU" sz="1400" i="1" kern="1200" dirty="0">
              <a:solidFill>
                <a:srgbClr val="002060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665135" y="3194302"/>
            <a:ext cx="548696" cy="431213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21" name="Полилиния 20"/>
          <p:cNvSpPr/>
          <p:nvPr/>
        </p:nvSpPr>
        <p:spPr>
          <a:xfrm>
            <a:off x="845732" y="3736701"/>
            <a:ext cx="7712572" cy="45076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kern="1200" dirty="0" err="1" smtClean="0">
                <a:solidFill>
                  <a:srgbClr val="002060"/>
                </a:solidFill>
              </a:rPr>
              <a:t>Әлеуметтік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kern="1200" dirty="0" err="1" smtClean="0">
                <a:solidFill>
                  <a:srgbClr val="002060"/>
                </a:solidFill>
              </a:rPr>
              <a:t>қорғаудың</a:t>
            </a:r>
            <a:r>
              <a:rPr lang="ru-RU" altLang="ru-RU" sz="1400" kern="1200" dirty="0" smtClean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Құпиялылығы</a:t>
            </a:r>
            <a:r>
              <a:rPr lang="ru-RU" altLang="ru-RU" sz="1400" b="1" kern="1200" cap="all" dirty="0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altLang="ru-RU" sz="1400" kern="1200" dirty="0">
              <a:solidFill>
                <a:srgbClr val="002060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665142" y="3736701"/>
            <a:ext cx="571585" cy="45076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8B264E18-3A8B-482F-9C04-4F208CBA3E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5" y="2040749"/>
            <a:ext cx="296679" cy="30456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01" y="1472240"/>
            <a:ext cx="271957" cy="26608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4B0BE5E1-A286-4473-B30B-5DE74337C4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84" y="2635449"/>
            <a:ext cx="388894" cy="29743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587C630E-10D8-420E-824C-D5BF4DFA66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50" y="893087"/>
            <a:ext cx="348228" cy="33682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BCEA24E6-BD05-4EAF-9087-122BE93FB7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5" y="3268938"/>
            <a:ext cx="314974" cy="281941"/>
          </a:xfrm>
          <a:prstGeom prst="rect">
            <a:avLst/>
          </a:prstGeom>
        </p:spPr>
      </p:pic>
      <p:sp>
        <p:nvSpPr>
          <p:cNvPr id="26" name="Полилиния 20">
            <a:extLst>
              <a:ext uri="{FF2B5EF4-FFF2-40B4-BE49-F238E27FC236}">
                <a16:creationId xmlns="" xmlns:a16="http://schemas.microsoft.com/office/drawing/2014/main" id="{A09CC5BB-8983-441A-A68D-8878630B72D4}"/>
              </a:ext>
            </a:extLst>
          </p:cNvPr>
          <p:cNvSpPr/>
          <p:nvPr/>
        </p:nvSpPr>
        <p:spPr>
          <a:xfrm>
            <a:off x="845730" y="4313685"/>
            <a:ext cx="7712572" cy="385150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sz="1400" kern="1200" dirty="0" err="1" smtClean="0">
                <a:solidFill>
                  <a:srgbClr val="002060"/>
                </a:solidFill>
                <a:sym typeface="Roboto"/>
              </a:rPr>
              <a:t>Халықаралық</a:t>
            </a:r>
            <a:r>
              <a:rPr lang="ru-RU" sz="1400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kern="1200" dirty="0" err="1" smtClean="0">
                <a:solidFill>
                  <a:srgbClr val="002060"/>
                </a:solidFill>
                <a:sym typeface="Roboto"/>
              </a:rPr>
              <a:t>стандарттарға</a:t>
            </a:r>
            <a:r>
              <a:rPr lang="ru-RU" sz="1400" kern="1200" dirty="0" smtClean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cap="all" dirty="0" err="1" smtClean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Сәйкестік</a:t>
            </a:r>
            <a:endParaRPr lang="ru-RU" sz="1400" kern="1200" dirty="0">
              <a:solidFill>
                <a:srgbClr val="002060"/>
              </a:solidFill>
              <a:sym typeface="Roboto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CE56C5FC-39A1-4926-B895-3BFC9911D095}"/>
              </a:ext>
            </a:extLst>
          </p:cNvPr>
          <p:cNvSpPr/>
          <p:nvPr/>
        </p:nvSpPr>
        <p:spPr>
          <a:xfrm>
            <a:off x="654025" y="4301668"/>
            <a:ext cx="548696" cy="397171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AAD9C386-75C3-4131-A8BC-AA1F3E2D1B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2771" y="3847821"/>
            <a:ext cx="318001" cy="231538"/>
          </a:xfrm>
          <a:prstGeom prst="rect">
            <a:avLst/>
          </a:prstGeom>
        </p:spPr>
      </p:pic>
      <p:pic>
        <p:nvPicPr>
          <p:cNvPr id="27" name="Google Shape;40;p1">
            <a:extLst>
              <a:ext uri="{FF2B5EF4-FFF2-40B4-BE49-F238E27FC236}">
                <a16:creationId xmlns="" xmlns:a16="http://schemas.microsoft.com/office/drawing/2014/main" id="{582FE4DA-BA8D-48AB-990E-1F9C3F273361}"/>
              </a:ext>
            </a:extLst>
          </p:cNvPr>
          <p:cNvPicPr preferRelativeResize="0"/>
          <p:nvPr/>
        </p:nvPicPr>
        <p:blipFill rotWithShape="1">
          <a:blip r:embed="rId8">
            <a:alphaModFix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87650" y="4366487"/>
            <a:ext cx="290208" cy="3137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3511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23">
            <a:extLst>
              <a:ext uri="{FF2B5EF4-FFF2-40B4-BE49-F238E27FC236}">
                <a16:creationId xmlns="" xmlns:a16="http://schemas.microsoft.com/office/drawing/2014/main" id="{29669F8B-CB69-4760-A859-54EB8AC4120C}"/>
              </a:ext>
            </a:extLst>
          </p:cNvPr>
          <p:cNvSpPr>
            <a:spLocks/>
          </p:cNvSpPr>
          <p:nvPr/>
        </p:nvSpPr>
        <p:spPr bwMode="gray">
          <a:xfrm>
            <a:off x="289560" y="3916077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Rectangle 323">
            <a:extLst>
              <a:ext uri="{FF2B5EF4-FFF2-40B4-BE49-F238E27FC236}">
                <a16:creationId xmlns="" xmlns:a16="http://schemas.microsoft.com/office/drawing/2014/main" id="{62F60528-C270-4A8F-9953-AF219FA806A2}"/>
              </a:ext>
            </a:extLst>
          </p:cNvPr>
          <p:cNvSpPr>
            <a:spLocks/>
          </p:cNvSpPr>
          <p:nvPr/>
        </p:nvSpPr>
        <p:spPr bwMode="gray">
          <a:xfrm>
            <a:off x="289560" y="3295937"/>
            <a:ext cx="8725287" cy="544321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23"/>
          <p:cNvSpPr>
            <a:spLocks/>
          </p:cNvSpPr>
          <p:nvPr/>
        </p:nvSpPr>
        <p:spPr bwMode="gray">
          <a:xfrm>
            <a:off x="289558" y="468744"/>
            <a:ext cx="8725287" cy="544322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FE1405B-A2B6-4D2A-B33B-E1879BF17961}"/>
              </a:ext>
            </a:extLst>
          </p:cNvPr>
          <p:cNvSpPr/>
          <p:nvPr/>
        </p:nvSpPr>
        <p:spPr>
          <a:xfrm>
            <a:off x="1259696" y="-29980"/>
            <a:ext cx="7884304" cy="4729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51426" tIns="25718" rIns="51426" bIns="25718" anchor="ctr"/>
          <a:lstStyle/>
          <a:p>
            <a:pPr marL="0" marR="0" lvl="0" indent="0" defTabSz="5135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buFontTx/>
              <a:buNone/>
              <a:tabLst>
                <a:tab pos="2868038" algn="l"/>
              </a:tabLst>
              <a:defRPr/>
            </a:pPr>
            <a:r>
              <a:rPr kumimoji="0" lang="ru-RU" alt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Әлеуметтік</a:t>
            </a:r>
            <a:r>
              <a:rPr kumimoji="0" lang="ru-RU" altLang="ru-RU" sz="2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кодекстің</a:t>
            </a:r>
            <a:r>
              <a:rPr kumimoji="0" lang="ru-RU" altLang="ru-RU" sz="2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құрылымы</a:t>
            </a:r>
            <a:r>
              <a:rPr kumimoji="0" lang="ru-RU" altLang="ru-RU" sz="2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kumimoji="0" lang="ru-RU" altLang="ru-RU" sz="2300" b="1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Жалпы</a:t>
            </a:r>
            <a:r>
              <a:rPr kumimoji="0" lang="ru-RU" altLang="ru-RU" sz="2300" b="1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2300" b="1" i="0" strike="noStrike" kern="1200" cap="none" spc="0" normalizeH="0" baseline="0" noProof="0" dirty="0" err="1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бөлі</a:t>
            </a:r>
            <a:r>
              <a:rPr lang="kk-KZ" altLang="ru-RU" sz="2300" b="1" kern="1200" dirty="0">
                <a:solidFill>
                  <a:srgbClr val="00B05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м</a:t>
            </a:r>
            <a:endParaRPr kumimoji="0" lang="ru-RU" altLang="ru-RU" sz="1800" b="0" i="0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3" name="Straight Connector 72">
            <a:extLst>
              <a:ext uri="{FF2B5EF4-FFF2-40B4-BE49-F238E27FC236}">
                <a16:creationId xmlns="" xmlns:a16="http://schemas.microsoft.com/office/drawing/2014/main" id="{EFB2CE24-0C36-4156-A751-2EBE032F92B7}"/>
              </a:ext>
            </a:extLst>
          </p:cNvPr>
          <p:cNvCxnSpPr>
            <a:cxnSpLocks/>
          </p:cNvCxnSpPr>
          <p:nvPr/>
        </p:nvCxnSpPr>
        <p:spPr bwMode="gray">
          <a:xfrm>
            <a:off x="430860" y="418886"/>
            <a:ext cx="834220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object 15"/>
          <p:cNvSpPr txBox="1"/>
          <p:nvPr/>
        </p:nvSpPr>
        <p:spPr>
          <a:xfrm>
            <a:off x="78395" y="509183"/>
            <a:ext cx="8885696" cy="4596044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1. Ең төменгі әлеуметтік стандарттар және адамның </a:t>
            </a:r>
            <a:r>
              <a:rPr lang="kk-KZ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Тіршілік әрекетінің барлық саласындағы</a:t>
            </a: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өзге де базалық құқықтары және міндеттері, </a:t>
            </a:r>
            <a:r>
              <a:rPr lang="kk-KZ" sz="1400" b="1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оның ішінде:</a:t>
            </a:r>
            <a:endParaRPr lang="kk-KZ" sz="1600" b="1" i="1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715963" marR="0" lvl="0" indent="-180975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білім беру саласында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тегін мектепалды, бастауыш, негізгі және жалпы орта білімге,  техникалық-кәсіптік білімге қолжетімділік, білім беру ұйымдарында инклюзивті орта құру, тағаммен, мектеп керек-жарақтарымен қамтамасыз ету </a:t>
            </a:r>
          </a:p>
          <a:p>
            <a:pPr marL="715963" marR="0" lvl="0" indent="-180975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денсаулық сақтау саласында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кепілдендірілген тегін медициналық көмек көлемі, медициналық көмекке бірдей қолжетімділік, дәрі-дәрмектердің қауіпсіздігі</a:t>
            </a:r>
          </a:p>
          <a:p>
            <a:pPr marL="715963" lvl="0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тұрғын үй жағдайларын жақсарту саласында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мүліктік құқық, тұрғын үймен қолдау, ЖТҮҚ үшінжер учаскелерін беру </a:t>
            </a:r>
            <a:r>
              <a:rPr lang="kk-KZ" sz="1100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(0,10 га) </a:t>
            </a:r>
          </a:p>
          <a:p>
            <a:pPr marL="715963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мәдениет және спорт саласында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мәдениет және спорт ұйымдары қызметтерінің қолжетімділігі</a:t>
            </a:r>
          </a:p>
          <a:p>
            <a:pPr marL="715963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көлік инфрақұрылымы саласында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әлеуметтік-көлік инфрақұрылымының қолжетімділігі </a:t>
            </a:r>
            <a:r>
              <a:rPr lang="kk-KZ" sz="1050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(кедергісіз орта)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, азаматтардың жекелеген санаттарына арнайы көлік қызметін көрсету</a:t>
            </a: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1800"/>
              </a:spcAft>
              <a:buClrTx/>
              <a:buSzTx/>
              <a:tabLst/>
              <a:defRPr/>
            </a:pPr>
            <a:endParaRPr lang="kk-KZ" sz="100" b="1" kern="1200" cap="all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2. Мемлекеттің Әлеуметтік саладағы рөлі, азаматтар мен жұмыс берушілердің </a:t>
            </a:r>
            <a:r>
              <a:rPr lang="kk-KZ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ортақ жауапкершілігі</a:t>
            </a:r>
            <a:endParaRPr lang="kk-KZ" sz="1400" b="1" kern="1200" cap="all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3</a:t>
            </a: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. Әлеуметтік қолдау шараларының түрі</a:t>
            </a:r>
            <a:r>
              <a:rPr lang="kk-KZ" sz="1400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kk-KZ" dirty="0">
                <a:solidFill>
                  <a:srgbClr val="002060"/>
                </a:solidFill>
              </a:rPr>
              <a:t>ақшалай төлем </a:t>
            </a:r>
            <a:r>
              <a:rPr lang="kk-KZ" sz="1000" i="1" dirty="0">
                <a:solidFill>
                  <a:srgbClr val="002060"/>
                </a:solidFill>
              </a:rPr>
              <a:t>(зейнетақы, мемлекеттік жәрдемақы, әлеуметтік төлемдер, өтемақылар)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kk-KZ" sz="1100" dirty="0">
                <a:solidFill>
                  <a:srgbClr val="002060"/>
                </a:solidFill>
              </a:rPr>
              <a:t>заттай көмек </a:t>
            </a:r>
            <a:r>
              <a:rPr lang="kk-KZ" sz="1000" i="1" dirty="0">
                <a:solidFill>
                  <a:srgbClr val="002060"/>
                </a:solidFill>
              </a:rPr>
              <a:t>(кепілдендірілген әлеуметтік көмек, мектеп формасымен, ыстық тамақпен қамтамасыз ету және т.б.)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kk-KZ" dirty="0">
                <a:solidFill>
                  <a:srgbClr val="002060"/>
                </a:solidFill>
              </a:rPr>
              <a:t>әлеуметтік қызметтер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kk-KZ" dirty="0">
                <a:solidFill>
                  <a:srgbClr val="002060"/>
                </a:solidFill>
              </a:rPr>
              <a:t>салық жеңілдіктері</a:t>
            </a:r>
          </a:p>
        </p:txBody>
      </p:sp>
    </p:spTree>
    <p:extLst>
      <p:ext uri="{BB962C8B-B14F-4D97-AF65-F5344CB8AC3E}">
        <p14:creationId xmlns:p14="http://schemas.microsoft.com/office/powerpoint/2010/main" val="2590502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23">
            <a:extLst>
              <a:ext uri="{FF2B5EF4-FFF2-40B4-BE49-F238E27FC236}">
                <a16:creationId xmlns="" xmlns:a16="http://schemas.microsoft.com/office/drawing/2014/main" id="{29669F8B-CB69-4760-A859-54EB8AC4120C}"/>
              </a:ext>
            </a:extLst>
          </p:cNvPr>
          <p:cNvSpPr>
            <a:spLocks/>
          </p:cNvSpPr>
          <p:nvPr/>
        </p:nvSpPr>
        <p:spPr bwMode="gray">
          <a:xfrm>
            <a:off x="289560" y="4440350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Rectangle 323">
            <a:extLst>
              <a:ext uri="{FF2B5EF4-FFF2-40B4-BE49-F238E27FC236}">
                <a16:creationId xmlns="" xmlns:a16="http://schemas.microsoft.com/office/drawing/2014/main" id="{62F60528-C270-4A8F-9953-AF219FA806A2}"/>
              </a:ext>
            </a:extLst>
          </p:cNvPr>
          <p:cNvSpPr>
            <a:spLocks/>
          </p:cNvSpPr>
          <p:nvPr/>
        </p:nvSpPr>
        <p:spPr bwMode="gray">
          <a:xfrm>
            <a:off x="289560" y="4003427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23"/>
          <p:cNvSpPr>
            <a:spLocks/>
          </p:cNvSpPr>
          <p:nvPr/>
        </p:nvSpPr>
        <p:spPr bwMode="gray">
          <a:xfrm>
            <a:off x="289558" y="618076"/>
            <a:ext cx="8725287" cy="310670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object 15"/>
          <p:cNvSpPr txBox="1"/>
          <p:nvPr/>
        </p:nvSpPr>
        <p:spPr>
          <a:xfrm>
            <a:off x="108368" y="669860"/>
            <a:ext cx="8885696" cy="4052306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1.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Әлеуметтік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тәуекел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түрлері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және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оған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ден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қою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400" b="1" kern="1200" cap="all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шаралары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sz="1000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kk-KZ" sz="300" b="1" kern="12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61950" defTabSz="725157">
              <a:spcBef>
                <a:spcPts val="79"/>
              </a:spcBef>
              <a:spcAft>
                <a:spcPts val="1800"/>
              </a:spcAft>
              <a:buClrTx/>
              <a:defRPr/>
            </a:pPr>
            <a:r>
              <a:rPr lang="kk-KZ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. Әлеуметтік қызметкерлердің құқықтық мәртебесі</a:t>
            </a:r>
            <a:r>
              <a:rPr lang="ru-RU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6195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. Әлеуметтік институттардың құқықтық мәртебесі</a:t>
            </a:r>
            <a:r>
              <a:rPr lang="ru-RU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i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МӘСҚ, БЗЖҚ, </a:t>
            </a:r>
            <a:r>
              <a:rPr lang="ru-RU" i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млекеттік</a:t>
            </a:r>
            <a:r>
              <a:rPr lang="ru-RU" i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рпорация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A618E3F8-6F56-43E3-84F5-5EAD1784A35F}"/>
              </a:ext>
            </a:extLst>
          </p:cNvPr>
          <p:cNvSpPr/>
          <p:nvPr/>
        </p:nvSpPr>
        <p:spPr>
          <a:xfrm>
            <a:off x="655608" y="0"/>
            <a:ext cx="8488392" cy="4729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51426" tIns="25718" rIns="51426" bIns="25718" anchor="ctr"/>
          <a:lstStyle/>
          <a:p>
            <a:pPr defTabSz="513581">
              <a:buClr>
                <a:srgbClr val="0070CE"/>
              </a:buClr>
              <a:buSzPct val="100000"/>
              <a:buFontTx/>
              <a:buNone/>
              <a:tabLst>
                <a:tab pos="2868038" algn="l"/>
              </a:tabLst>
              <a:defRPr/>
            </a:pPr>
            <a:r>
              <a:rPr lang="kk-KZ" altLang="ru-RU" sz="23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Әлеуметтік кодекстің құрылымы: </a:t>
            </a:r>
            <a:r>
              <a:rPr lang="kk-KZ" altLang="ru-RU" sz="2300" b="1" kern="1200" dirty="0">
                <a:solidFill>
                  <a:srgbClr val="00B05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Ерекше бөлім</a:t>
            </a:r>
            <a:endParaRPr lang="kk-KZ" altLang="ru-RU" sz="1800" kern="1200" dirty="0">
              <a:solidFill>
                <a:srgbClr val="00B05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9" name="Straight Connector 72">
            <a:extLst>
              <a:ext uri="{FF2B5EF4-FFF2-40B4-BE49-F238E27FC236}">
                <a16:creationId xmlns="" xmlns:a16="http://schemas.microsoft.com/office/drawing/2014/main" id="{B288A0D5-AD20-4D60-85B0-CD7222AE734B}"/>
              </a:ext>
            </a:extLst>
          </p:cNvPr>
          <p:cNvCxnSpPr>
            <a:cxnSpLocks/>
          </p:cNvCxnSpPr>
          <p:nvPr/>
        </p:nvCxnSpPr>
        <p:spPr bwMode="gray">
          <a:xfrm>
            <a:off x="430860" y="448866"/>
            <a:ext cx="834220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91D69011-0D59-4D2A-A0CA-4636218CF03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9558" y="1070187"/>
          <a:ext cx="8704506" cy="2921358"/>
        </p:xfrm>
        <a:graphic>
          <a:graphicData uri="http://schemas.openxmlformats.org/drawingml/2006/table">
            <a:tbl>
              <a:tblPr firstRow="1" bandRow="1"/>
              <a:tblGrid>
                <a:gridCol w="25159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8891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29934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39451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200" b="1" i="0" u="none" strike="noStrike" kern="1200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Әлеуметтік тәуекел</a:t>
                      </a: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200" b="1" i="0" u="none" strike="noStrike" kern="1200" cap="none" noProof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Arial"/>
                        </a:rPr>
                        <a:t>Бөлімдер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200" b="1" i="0" u="none" strike="noStrike" kern="1200" cap="none" noProof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Arial"/>
                        </a:rPr>
                        <a:t>ҚРЗ шоғырлануы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Бала туу, бала күтімі</a:t>
                      </a: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Балалы отбасыларды қолдау</a:t>
                      </a:r>
                    </a:p>
                  </a:txBody>
                  <a:tcPr marL="54000" marR="68580" marT="34290" marB="3429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54000" marR="68580" marT="34290" marB="3429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1782">
                <a:tc rowSpan="3"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Өмірлік қиын жағдайдың басталуы</a:t>
                      </a: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Табысы аз отбасыларды қолдау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1782">
                <a:tc vMerge="1">
                  <a:txBody>
                    <a:bodyPr/>
                    <a:lstStyle/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Асыраушысынан айырылу жағдайында қолда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1782">
                <a:tc vMerge="1">
                  <a:txBody>
                    <a:bodyPr/>
                    <a:lstStyle/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Жерлеуге арналған төлемдер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1782">
                <a:tc rowSpan="4"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Еңбек қабілетінен айырылу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Мүгедектігі бар балаларды қолда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Мүгедектігі бар адамдарды қолда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Азаматтардың жекелеген санаттарын қолда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3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Әлеуметтік қызметтер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Азаматтардың табысын қамтамасыз  ету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Жұмыспен қамту саласындағы кепілдік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kk-KZ" altLang="ru-RU" sz="1100" b="1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Қарттық кездің басталуы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0" i="0" u="none" strike="noStrike" cap="none" noProof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Зейнетақымен қамсыздандыру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k-KZ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2764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Прямоугольник 126">
            <a:extLst>
              <a:ext uri="{FF2B5EF4-FFF2-40B4-BE49-F238E27FC236}">
                <a16:creationId xmlns="" xmlns:a16="http://schemas.microsoft.com/office/drawing/2014/main" id="{B537FC54-11C3-4455-B32B-F9D7CDDE83DC}"/>
              </a:ext>
            </a:extLst>
          </p:cNvPr>
          <p:cNvSpPr/>
          <p:nvPr/>
        </p:nvSpPr>
        <p:spPr>
          <a:xfrm>
            <a:off x="2192964" y="1171340"/>
            <a:ext cx="6343084" cy="33685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Негізгі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тәсілдер</a:t>
            </a: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: </a:t>
            </a: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r>
              <a:rPr lang="ru-RU" sz="20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20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1.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Әлеуметтік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ұқықтар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ен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епілдіктерді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қамтамасыз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ту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шараларын</a:t>
            </a:r>
            <a:r>
              <a:rPr lang="ru-RU" sz="1800" kern="1000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8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үшейту</a:t>
            </a:r>
            <a:r>
              <a:rPr lang="ru-RU" sz="1800" kern="1200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ru-RU" sz="18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2" name="Rectangle 323">
            <a:extLst>
              <a:ext uri="{FF2B5EF4-FFF2-40B4-BE49-F238E27FC236}">
                <a16:creationId xmlns="" xmlns:a16="http://schemas.microsoft.com/office/drawing/2014/main" id="{620BA2F1-E5F4-467E-8C3B-73EF932B014F}"/>
              </a:ext>
            </a:extLst>
          </p:cNvPr>
          <p:cNvSpPr>
            <a:spLocks/>
          </p:cNvSpPr>
          <p:nvPr/>
        </p:nvSpPr>
        <p:spPr bwMode="gray">
          <a:xfrm>
            <a:off x="534866" y="1171341"/>
            <a:ext cx="1566984" cy="3368575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91418" tIns="45709" rIns="91418" bIns="45709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24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534866" y="4539914"/>
            <a:ext cx="15669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cxnSp>
        <p:nvCxnSpPr>
          <p:cNvPr id="25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534866" y="1171339"/>
            <a:ext cx="15669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grpSp>
        <p:nvGrpSpPr>
          <p:cNvPr id="26" name="Group 128">
            <a:extLst>
              <a:ext uri="{FF2B5EF4-FFF2-40B4-BE49-F238E27FC236}">
                <a16:creationId xmlns="" xmlns:a16="http://schemas.microsoft.com/office/drawing/2014/main" id="{D03F3556-FAB5-4302-B400-822C0053343C}"/>
              </a:ext>
            </a:extLst>
          </p:cNvPr>
          <p:cNvGrpSpPr/>
          <p:nvPr/>
        </p:nvGrpSpPr>
        <p:grpSpPr bwMode="gray">
          <a:xfrm>
            <a:off x="992693" y="1865082"/>
            <a:ext cx="611763" cy="577461"/>
            <a:chOff x="189614" y="3370053"/>
            <a:chExt cx="500012" cy="510652"/>
          </a:xfrm>
        </p:grpSpPr>
        <p:sp>
          <p:nvSpPr>
            <p:cNvPr id="27" name="Freeform: Shape 129">
              <a:extLst>
                <a:ext uri="{FF2B5EF4-FFF2-40B4-BE49-F238E27FC236}">
                  <a16:creationId xmlns="" xmlns:a16="http://schemas.microsoft.com/office/drawing/2014/main" id="{287DE3A5-B0E8-4789-93B3-C99DB6C2927F}"/>
                </a:ext>
              </a:extLst>
            </p:cNvPr>
            <p:cNvSpPr/>
            <p:nvPr/>
          </p:nvSpPr>
          <p:spPr bwMode="gray">
            <a:xfrm>
              <a:off x="317277" y="3593463"/>
              <a:ext cx="244687" cy="223410"/>
            </a:xfrm>
            <a:custGeom>
              <a:avLst/>
              <a:gdLst>
                <a:gd name="connsiteX0" fmla="*/ 231972 w 304878"/>
                <a:gd name="connsiteY0" fmla="*/ 258484 h 278366"/>
                <a:gd name="connsiteX1" fmla="*/ 284995 w 304878"/>
                <a:gd name="connsiteY1" fmla="*/ 205461 h 278366"/>
                <a:gd name="connsiteX2" fmla="*/ 284995 w 304878"/>
                <a:gd name="connsiteY2" fmla="*/ 86161 h 278366"/>
                <a:gd name="connsiteX3" fmla="*/ 152439 w 304878"/>
                <a:gd name="connsiteY3" fmla="*/ 19883 h 278366"/>
                <a:gd name="connsiteX4" fmla="*/ 19883 w 304878"/>
                <a:gd name="connsiteY4" fmla="*/ 86161 h 278366"/>
                <a:gd name="connsiteX5" fmla="*/ 19883 w 304878"/>
                <a:gd name="connsiteY5" fmla="*/ 205461 h 278366"/>
                <a:gd name="connsiteX6" fmla="*/ 72906 w 304878"/>
                <a:gd name="connsiteY6" fmla="*/ 258484 h 278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878" h="278366">
                  <a:moveTo>
                    <a:pt x="231972" y="258484"/>
                  </a:moveTo>
                  <a:cubicBezTo>
                    <a:pt x="260604" y="258484"/>
                    <a:pt x="284995" y="231310"/>
                    <a:pt x="284995" y="205461"/>
                  </a:cubicBezTo>
                  <a:lnTo>
                    <a:pt x="284995" y="86161"/>
                  </a:lnTo>
                  <a:cubicBezTo>
                    <a:pt x="284995" y="42418"/>
                    <a:pt x="198436" y="19883"/>
                    <a:pt x="152439" y="19883"/>
                  </a:cubicBezTo>
                  <a:cubicBezTo>
                    <a:pt x="106442" y="19883"/>
                    <a:pt x="19883" y="42418"/>
                    <a:pt x="19883" y="86161"/>
                  </a:cubicBezTo>
                  <a:lnTo>
                    <a:pt x="19883" y="205461"/>
                  </a:lnTo>
                  <a:cubicBezTo>
                    <a:pt x="19883" y="231310"/>
                    <a:pt x="44274" y="258484"/>
                    <a:pt x="72906" y="258484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: Shape 130">
              <a:extLst>
                <a:ext uri="{FF2B5EF4-FFF2-40B4-BE49-F238E27FC236}">
                  <a16:creationId xmlns="" xmlns:a16="http://schemas.microsoft.com/office/drawing/2014/main" id="{35364264-EF8C-489F-AFC4-FD6F2054E8B6}"/>
                </a:ext>
              </a:extLst>
            </p:cNvPr>
            <p:cNvSpPr/>
            <p:nvPr/>
          </p:nvSpPr>
          <p:spPr bwMode="gray">
            <a:xfrm>
              <a:off x="551325" y="3625379"/>
              <a:ext cx="138301" cy="212771"/>
            </a:xfrm>
            <a:custGeom>
              <a:avLst/>
              <a:gdLst>
                <a:gd name="connsiteX0" fmla="*/ 99417 w 172322"/>
                <a:gd name="connsiteY0" fmla="*/ 245228 h 265111"/>
                <a:gd name="connsiteX1" fmla="*/ 152439 w 172322"/>
                <a:gd name="connsiteY1" fmla="*/ 205461 h 265111"/>
                <a:gd name="connsiteX2" fmla="*/ 152439 w 172322"/>
                <a:gd name="connsiteY2" fmla="*/ 86161 h 265111"/>
                <a:gd name="connsiteX3" fmla="*/ 33139 w 172322"/>
                <a:gd name="connsiteY3" fmla="*/ 19883 h 265111"/>
                <a:gd name="connsiteX4" fmla="*/ 19883 w 172322"/>
                <a:gd name="connsiteY4" fmla="*/ 20546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22" h="265111">
                  <a:moveTo>
                    <a:pt x="99417" y="245228"/>
                  </a:moveTo>
                  <a:cubicBezTo>
                    <a:pt x="125265" y="245228"/>
                    <a:pt x="152439" y="231310"/>
                    <a:pt x="152439" y="205461"/>
                  </a:cubicBezTo>
                  <a:lnTo>
                    <a:pt x="152439" y="86161"/>
                  </a:lnTo>
                  <a:cubicBezTo>
                    <a:pt x="152439" y="42418"/>
                    <a:pt x="74629" y="19883"/>
                    <a:pt x="33139" y="19883"/>
                  </a:cubicBezTo>
                  <a:cubicBezTo>
                    <a:pt x="29030" y="19883"/>
                    <a:pt x="24523" y="20148"/>
                    <a:pt x="19883" y="20546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: Shape 131">
              <a:extLst>
                <a:ext uri="{FF2B5EF4-FFF2-40B4-BE49-F238E27FC236}">
                  <a16:creationId xmlns="" xmlns:a16="http://schemas.microsoft.com/office/drawing/2014/main" id="{62A81246-60DF-4D16-97F5-B74A1550F96F}"/>
                </a:ext>
              </a:extLst>
            </p:cNvPr>
            <p:cNvSpPr/>
            <p:nvPr/>
          </p:nvSpPr>
          <p:spPr bwMode="gray">
            <a:xfrm>
              <a:off x="381108" y="3465800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25928 w 145811"/>
                <a:gd name="connsiteY1" fmla="*/ 91463 h 159066"/>
                <a:gd name="connsiteX2" fmla="*/ 125928 w 145811"/>
                <a:gd name="connsiteY2" fmla="*/ 67603 h 159066"/>
                <a:gd name="connsiteX3" fmla="*/ 72906 w 145811"/>
                <a:gd name="connsiteY3" fmla="*/ 19883 h 159066"/>
                <a:gd name="connsiteX4" fmla="*/ 19883 w 145811"/>
                <a:gd name="connsiteY4" fmla="*/ 67603 h 159066"/>
                <a:gd name="connsiteX5" fmla="*/ 19883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103791" y="139183"/>
                    <a:pt x="125928" y="119698"/>
                    <a:pt x="125928" y="91463"/>
                  </a:cubicBezTo>
                  <a:lnTo>
                    <a:pt x="125928" y="67603"/>
                  </a:lnTo>
                  <a:cubicBezTo>
                    <a:pt x="125928" y="39369"/>
                    <a:pt x="103791" y="19883"/>
                    <a:pt x="72906" y="19883"/>
                  </a:cubicBezTo>
                  <a:cubicBezTo>
                    <a:pt x="42020" y="19883"/>
                    <a:pt x="19883" y="39369"/>
                    <a:pt x="19883" y="67603"/>
                  </a:cubicBezTo>
                  <a:lnTo>
                    <a:pt x="19883" y="91463"/>
                  </a:lnTo>
                  <a:cubicBezTo>
                    <a:pt x="19883" y="119698"/>
                    <a:pt x="42020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: Shape 132">
              <a:extLst>
                <a:ext uri="{FF2B5EF4-FFF2-40B4-BE49-F238E27FC236}">
                  <a16:creationId xmlns="" xmlns:a16="http://schemas.microsoft.com/office/drawing/2014/main" id="{435E3A93-7FDC-46AB-BF84-6B4135E181B9}"/>
                </a:ext>
              </a:extLst>
            </p:cNvPr>
            <p:cNvSpPr/>
            <p:nvPr/>
          </p:nvSpPr>
          <p:spPr bwMode="gray">
            <a:xfrm>
              <a:off x="615156" y="3699849"/>
              <a:ext cx="31916" cy="180856"/>
            </a:xfrm>
            <a:custGeom>
              <a:avLst/>
              <a:gdLst>
                <a:gd name="connsiteX0" fmla="*/ 19883 w 39766"/>
                <a:gd name="connsiteY0" fmla="*/ 205461 h 225344"/>
                <a:gd name="connsiteX1" fmla="*/ 19883 w 39766"/>
                <a:gd name="connsiteY1" fmla="*/ 19883 h 22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25344">
                  <a:moveTo>
                    <a:pt x="19883" y="205461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: Shape 133">
              <a:extLst>
                <a:ext uri="{FF2B5EF4-FFF2-40B4-BE49-F238E27FC236}">
                  <a16:creationId xmlns="" xmlns:a16="http://schemas.microsoft.com/office/drawing/2014/main" id="{4174674B-8CCD-4C5C-BAC2-4F33516E6445}"/>
                </a:ext>
              </a:extLst>
            </p:cNvPr>
            <p:cNvSpPr/>
            <p:nvPr/>
          </p:nvSpPr>
          <p:spPr bwMode="gray">
            <a:xfrm>
              <a:off x="487494" y="3667933"/>
              <a:ext cx="31916" cy="212771"/>
            </a:xfrm>
            <a:custGeom>
              <a:avLst/>
              <a:gdLst>
                <a:gd name="connsiteX0" fmla="*/ 19883 w 39766"/>
                <a:gd name="connsiteY0" fmla="*/ 245228 h 265111"/>
                <a:gd name="connsiteX1" fmla="*/ 19883 w 39766"/>
                <a:gd name="connsiteY1" fmla="*/ 19883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65111">
                  <a:moveTo>
                    <a:pt x="19883" y="245228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: Shape 134">
              <a:extLst>
                <a:ext uri="{FF2B5EF4-FFF2-40B4-BE49-F238E27FC236}">
                  <a16:creationId xmlns="" xmlns:a16="http://schemas.microsoft.com/office/drawing/2014/main" id="{CCE8F83E-E8A3-47A1-80F5-671F7510ADEC}"/>
                </a:ext>
              </a:extLst>
            </p:cNvPr>
            <p:cNvSpPr/>
            <p:nvPr/>
          </p:nvSpPr>
          <p:spPr bwMode="gray">
            <a:xfrm>
              <a:off x="359831" y="3667933"/>
              <a:ext cx="31916" cy="212771"/>
            </a:xfrm>
            <a:custGeom>
              <a:avLst/>
              <a:gdLst>
                <a:gd name="connsiteX0" fmla="*/ 19883 w 39766"/>
                <a:gd name="connsiteY0" fmla="*/ 19883 h 265111"/>
                <a:gd name="connsiteX1" fmla="*/ 19883 w 39766"/>
                <a:gd name="connsiteY1" fmla="*/ 245228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65111">
                  <a:moveTo>
                    <a:pt x="19883" y="19883"/>
                  </a:moveTo>
                  <a:lnTo>
                    <a:pt x="19883" y="245228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: Shape 135">
              <a:extLst>
                <a:ext uri="{FF2B5EF4-FFF2-40B4-BE49-F238E27FC236}">
                  <a16:creationId xmlns="" xmlns:a16="http://schemas.microsoft.com/office/drawing/2014/main" id="{1E27E04D-95BD-4D7A-BF36-8037FDB8B2C6}"/>
                </a:ext>
              </a:extLst>
            </p:cNvPr>
            <p:cNvSpPr/>
            <p:nvPr/>
          </p:nvSpPr>
          <p:spPr bwMode="gray">
            <a:xfrm>
              <a:off x="530048" y="3497716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25928 w 145811"/>
                <a:gd name="connsiteY1" fmla="*/ 91463 h 159066"/>
                <a:gd name="connsiteX2" fmla="*/ 125928 w 145811"/>
                <a:gd name="connsiteY2" fmla="*/ 67603 h 159066"/>
                <a:gd name="connsiteX3" fmla="*/ 72906 w 145811"/>
                <a:gd name="connsiteY3" fmla="*/ 19883 h 159066"/>
                <a:gd name="connsiteX4" fmla="*/ 19883 w 145811"/>
                <a:gd name="connsiteY4" fmla="*/ 67603 h 159066"/>
                <a:gd name="connsiteX5" fmla="*/ 19883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103791" y="139183"/>
                    <a:pt x="125928" y="119698"/>
                    <a:pt x="125928" y="91463"/>
                  </a:cubicBezTo>
                  <a:lnTo>
                    <a:pt x="125928" y="67603"/>
                  </a:lnTo>
                  <a:cubicBezTo>
                    <a:pt x="125928" y="39369"/>
                    <a:pt x="103791" y="19883"/>
                    <a:pt x="72906" y="19883"/>
                  </a:cubicBezTo>
                  <a:cubicBezTo>
                    <a:pt x="42020" y="19883"/>
                    <a:pt x="19883" y="39369"/>
                    <a:pt x="19883" y="67603"/>
                  </a:cubicBezTo>
                  <a:lnTo>
                    <a:pt x="19883" y="91463"/>
                  </a:lnTo>
                  <a:cubicBezTo>
                    <a:pt x="19883" y="119698"/>
                    <a:pt x="42020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: Shape 136">
              <a:extLst>
                <a:ext uri="{FF2B5EF4-FFF2-40B4-BE49-F238E27FC236}">
                  <a16:creationId xmlns="" xmlns:a16="http://schemas.microsoft.com/office/drawing/2014/main" id="{70C1231D-7D76-42EB-AD4C-5B63F5938593}"/>
                </a:ext>
              </a:extLst>
            </p:cNvPr>
            <p:cNvSpPr/>
            <p:nvPr/>
          </p:nvSpPr>
          <p:spPr bwMode="gray">
            <a:xfrm>
              <a:off x="189614" y="3625379"/>
              <a:ext cx="138301" cy="212771"/>
            </a:xfrm>
            <a:custGeom>
              <a:avLst/>
              <a:gdLst>
                <a:gd name="connsiteX0" fmla="*/ 72906 w 172322"/>
                <a:gd name="connsiteY0" fmla="*/ 245228 h 265111"/>
                <a:gd name="connsiteX1" fmla="*/ 19883 w 172322"/>
                <a:gd name="connsiteY1" fmla="*/ 205461 h 265111"/>
                <a:gd name="connsiteX2" fmla="*/ 19883 w 172322"/>
                <a:gd name="connsiteY2" fmla="*/ 86161 h 265111"/>
                <a:gd name="connsiteX3" fmla="*/ 139183 w 172322"/>
                <a:gd name="connsiteY3" fmla="*/ 19883 h 265111"/>
                <a:gd name="connsiteX4" fmla="*/ 152439 w 172322"/>
                <a:gd name="connsiteY4" fmla="*/ 20546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22" h="265111">
                  <a:moveTo>
                    <a:pt x="72906" y="245228"/>
                  </a:moveTo>
                  <a:cubicBezTo>
                    <a:pt x="47057" y="245228"/>
                    <a:pt x="19883" y="231310"/>
                    <a:pt x="19883" y="205461"/>
                  </a:cubicBezTo>
                  <a:lnTo>
                    <a:pt x="19883" y="86161"/>
                  </a:lnTo>
                  <a:cubicBezTo>
                    <a:pt x="19883" y="42418"/>
                    <a:pt x="97694" y="19883"/>
                    <a:pt x="139183" y="19883"/>
                  </a:cubicBezTo>
                  <a:cubicBezTo>
                    <a:pt x="143293" y="19883"/>
                    <a:pt x="147800" y="20148"/>
                    <a:pt x="152439" y="20546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: Shape 137">
              <a:extLst>
                <a:ext uri="{FF2B5EF4-FFF2-40B4-BE49-F238E27FC236}">
                  <a16:creationId xmlns="" xmlns:a16="http://schemas.microsoft.com/office/drawing/2014/main" id="{AD6EF90E-3541-42D1-959E-4781C3E88ED0}"/>
                </a:ext>
              </a:extLst>
            </p:cNvPr>
            <p:cNvSpPr/>
            <p:nvPr/>
          </p:nvSpPr>
          <p:spPr bwMode="gray">
            <a:xfrm>
              <a:off x="232168" y="3699849"/>
              <a:ext cx="31916" cy="180856"/>
            </a:xfrm>
            <a:custGeom>
              <a:avLst/>
              <a:gdLst>
                <a:gd name="connsiteX0" fmla="*/ 19883 w 39766"/>
                <a:gd name="connsiteY0" fmla="*/ 205461 h 225344"/>
                <a:gd name="connsiteX1" fmla="*/ 19883 w 39766"/>
                <a:gd name="connsiteY1" fmla="*/ 19883 h 22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25344">
                  <a:moveTo>
                    <a:pt x="19883" y="205461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: Shape 138">
              <a:extLst>
                <a:ext uri="{FF2B5EF4-FFF2-40B4-BE49-F238E27FC236}">
                  <a16:creationId xmlns="" xmlns:a16="http://schemas.microsoft.com/office/drawing/2014/main" id="{2EE32672-A3AC-465A-A449-B81DB4478845}"/>
                </a:ext>
              </a:extLst>
            </p:cNvPr>
            <p:cNvSpPr/>
            <p:nvPr/>
          </p:nvSpPr>
          <p:spPr bwMode="gray">
            <a:xfrm>
              <a:off x="232168" y="3497716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: Shape 139">
              <a:extLst>
                <a:ext uri="{FF2B5EF4-FFF2-40B4-BE49-F238E27FC236}">
                  <a16:creationId xmlns="" xmlns:a16="http://schemas.microsoft.com/office/drawing/2014/main" id="{C02C6CED-80D3-42A7-ADFE-AB23B870A09B}"/>
                </a:ext>
              </a:extLst>
            </p:cNvPr>
            <p:cNvSpPr/>
            <p:nvPr/>
          </p:nvSpPr>
          <p:spPr bwMode="gray">
            <a:xfrm>
              <a:off x="285361" y="3370053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: Shape 140">
              <a:extLst>
                <a:ext uri="{FF2B5EF4-FFF2-40B4-BE49-F238E27FC236}">
                  <a16:creationId xmlns="" xmlns:a16="http://schemas.microsoft.com/office/drawing/2014/main" id="{399A1F27-3905-4E82-BF3C-6B55E794B0E8}"/>
                </a:ext>
              </a:extLst>
            </p:cNvPr>
            <p:cNvSpPr/>
            <p:nvPr/>
          </p:nvSpPr>
          <p:spPr bwMode="gray">
            <a:xfrm>
              <a:off x="476855" y="3370053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3912252-A353-4976-87E1-B08ECAD26C0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5000" y="2699027"/>
            <a:ext cx="132715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ru-RU" sz="1600" b="1" kern="1200" dirty="0" err="1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Қазақстан</a:t>
            </a:r>
            <a:r>
              <a:rPr lang="ru-RU" sz="1600" b="1" kern="1200" dirty="0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ның</a:t>
            </a:r>
            <a:r>
              <a:rPr lang="ru-RU" sz="1600" b="1" kern="1200" dirty="0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барлық</a:t>
            </a:r>
            <a:r>
              <a:rPr lang="ru-RU" sz="1600" b="1" kern="1200" dirty="0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600" b="1" kern="1200" dirty="0" err="1" smtClean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халқы</a:t>
            </a:r>
            <a:endParaRPr lang="ru-RU" sz="1600" b="1" kern="12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cxnSp>
        <p:nvCxnSpPr>
          <p:cNvPr id="40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40" y="1628223"/>
            <a:ext cx="5670817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52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38966" y="2826681"/>
            <a:ext cx="5660091" cy="6801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A3BAFFC-CE01-4714-ADD2-7DB6B4F4D94D}"/>
              </a:ext>
            </a:extLst>
          </p:cNvPr>
          <p:cNvSpPr txBox="1"/>
          <p:nvPr/>
        </p:nvSpPr>
        <p:spPr bwMode="gray">
          <a:xfrm>
            <a:off x="2871922" y="2917933"/>
            <a:ext cx="562078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ұқтаж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басыларды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үйемелдеу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итуты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мыту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0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38" y="3440065"/>
            <a:ext cx="5670819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1A3BAFFC-CE01-4714-ADD2-7DB6B4F4D94D}"/>
              </a:ext>
            </a:extLst>
          </p:cNvPr>
          <p:cNvSpPr txBox="1"/>
          <p:nvPr/>
        </p:nvSpPr>
        <p:spPr bwMode="gray">
          <a:xfrm>
            <a:off x="2858015" y="4160484"/>
            <a:ext cx="576725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лықты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-ауқаттылық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ексін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нгізу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2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37" y="4033576"/>
            <a:ext cx="5670820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83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168526" y="4539916"/>
            <a:ext cx="6330531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cxnSp>
        <p:nvCxnSpPr>
          <p:cNvPr id="84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168525" y="1171341"/>
            <a:ext cx="63430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50520" y="1222362"/>
            <a:ext cx="5658369" cy="10156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ts val="1200"/>
              </a:spcAft>
              <a:buClr>
                <a:srgbClr val="0070CE"/>
              </a:buClr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пілдіктерді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мтамасыз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туді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ыңғай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раметрлері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ру</a:t>
            </a:r>
            <a:endParaRPr lang="ru-RU" altLang="ru-RU" sz="1400" b="1" kern="1200" dirty="0" smtClean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77440" y="2223501"/>
            <a:ext cx="56715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заматтарды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уапкершілігі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ынталандыру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ндеттемелерді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ындау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1" name="Picture 92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510" y="4059982"/>
            <a:ext cx="411655" cy="367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" name="Graphic 101">
            <a:extLst>
              <a:ext uri="{FF2B5EF4-FFF2-40B4-BE49-F238E27FC236}">
                <a16:creationId xmlns="" xmlns:a16="http://schemas.microsoft.com/office/drawing/2014/main" id="{3E7617D4-1E3C-5D44-9E80-43675665749A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298721" y="3519362"/>
            <a:ext cx="351344" cy="373087"/>
          </a:xfrm>
          <a:prstGeom prst="rect">
            <a:avLst/>
          </a:prstGeom>
        </p:spPr>
      </p:pic>
      <p:grpSp>
        <p:nvGrpSpPr>
          <p:cNvPr id="113" name="Group 137">
            <a:extLst>
              <a:ext uri="{FF2B5EF4-FFF2-40B4-BE49-F238E27FC236}">
                <a16:creationId xmlns="" xmlns:a16="http://schemas.microsoft.com/office/drawing/2014/main" id="{2AAFC755-B5B2-4FD6-8C2C-2F40BF3FC2EF}"/>
              </a:ext>
            </a:extLst>
          </p:cNvPr>
          <p:cNvGrpSpPr/>
          <p:nvPr/>
        </p:nvGrpSpPr>
        <p:grpSpPr>
          <a:xfrm>
            <a:off x="2309710" y="2889651"/>
            <a:ext cx="351344" cy="395669"/>
            <a:chOff x="2540138" y="3931714"/>
            <a:chExt cx="428625" cy="466725"/>
          </a:xfrm>
        </p:grpSpPr>
        <p:sp>
          <p:nvSpPr>
            <p:cNvPr id="114" name="Freeform: Shape 138">
              <a:extLst>
                <a:ext uri="{FF2B5EF4-FFF2-40B4-BE49-F238E27FC236}">
                  <a16:creationId xmlns="" xmlns:a16="http://schemas.microsoft.com/office/drawing/2014/main" id="{6DABA873-89DA-4EA4-B803-3813921B8BDA}"/>
                </a:ext>
              </a:extLst>
            </p:cNvPr>
            <p:cNvSpPr/>
            <p:nvPr/>
          </p:nvSpPr>
          <p:spPr>
            <a:xfrm>
              <a:off x="2663963" y="4160314"/>
              <a:ext cx="304800" cy="28575"/>
            </a:xfrm>
            <a:custGeom>
              <a:avLst/>
              <a:gdLst>
                <a:gd name="connsiteX0" fmla="*/ 14288 w 304800"/>
                <a:gd name="connsiteY0" fmla="*/ 14288 h 28575"/>
                <a:gd name="connsiteX1" fmla="*/ 290513 w 304800"/>
                <a:gd name="connsiteY1" fmla="*/ 14288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800" h="28575">
                  <a:moveTo>
                    <a:pt x="14288" y="14288"/>
                  </a:moveTo>
                  <a:lnTo>
                    <a:pt x="290513" y="14288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5" name="Freeform: Shape 139">
              <a:extLst>
                <a:ext uri="{FF2B5EF4-FFF2-40B4-BE49-F238E27FC236}">
                  <a16:creationId xmlns="" xmlns:a16="http://schemas.microsoft.com/office/drawing/2014/main" id="{6B0F0741-7DA9-4C59-9E3B-0288387818DB}"/>
                </a:ext>
              </a:extLst>
            </p:cNvPr>
            <p:cNvSpPr/>
            <p:nvPr/>
          </p:nvSpPr>
          <p:spPr>
            <a:xfrm>
              <a:off x="2787788" y="4131739"/>
              <a:ext cx="66675" cy="57150"/>
            </a:xfrm>
            <a:custGeom>
              <a:avLst/>
              <a:gdLst>
                <a:gd name="connsiteX0" fmla="*/ 14288 w 66675"/>
                <a:gd name="connsiteY0" fmla="*/ 14288 h 57150"/>
                <a:gd name="connsiteX1" fmla="*/ 52388 w 66675"/>
                <a:gd name="connsiteY1" fmla="*/ 14288 h 57150"/>
                <a:gd name="connsiteX2" fmla="*/ 52388 w 66675"/>
                <a:gd name="connsiteY2" fmla="*/ 428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57150">
                  <a:moveTo>
                    <a:pt x="14288" y="14288"/>
                  </a:moveTo>
                  <a:lnTo>
                    <a:pt x="52388" y="14288"/>
                  </a:lnTo>
                  <a:lnTo>
                    <a:pt x="52388" y="428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6" name="Freeform: Shape 140">
              <a:extLst>
                <a:ext uri="{FF2B5EF4-FFF2-40B4-BE49-F238E27FC236}">
                  <a16:creationId xmlns="" xmlns:a16="http://schemas.microsoft.com/office/drawing/2014/main" id="{685559FB-A427-4DF2-97D0-199C14E57B7B}"/>
                </a:ext>
              </a:extLst>
            </p:cNvPr>
            <p:cNvSpPr/>
            <p:nvPr/>
          </p:nvSpPr>
          <p:spPr>
            <a:xfrm>
              <a:off x="2863988" y="4017439"/>
              <a:ext cx="85725" cy="171450"/>
            </a:xfrm>
            <a:custGeom>
              <a:avLst/>
              <a:gdLst>
                <a:gd name="connsiteX0" fmla="*/ 14288 w 85725"/>
                <a:gd name="connsiteY0" fmla="*/ 157163 h 171450"/>
                <a:gd name="connsiteX1" fmla="*/ 14288 w 85725"/>
                <a:gd name="connsiteY1" fmla="*/ 128588 h 171450"/>
                <a:gd name="connsiteX2" fmla="*/ 52388 w 85725"/>
                <a:gd name="connsiteY2" fmla="*/ 128588 h 171450"/>
                <a:gd name="connsiteX3" fmla="*/ 71438 w 85725"/>
                <a:gd name="connsiteY3" fmla="*/ 128588 h 171450"/>
                <a:gd name="connsiteX4" fmla="*/ 71438 w 85725"/>
                <a:gd name="connsiteY4" fmla="*/ 14288 h 171450"/>
                <a:gd name="connsiteX5" fmla="*/ 23813 w 85725"/>
                <a:gd name="connsiteY5" fmla="*/ 1428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5" h="171450">
                  <a:moveTo>
                    <a:pt x="14288" y="157163"/>
                  </a:moveTo>
                  <a:lnTo>
                    <a:pt x="14288" y="128588"/>
                  </a:lnTo>
                  <a:lnTo>
                    <a:pt x="52388" y="128588"/>
                  </a:lnTo>
                  <a:lnTo>
                    <a:pt x="71438" y="128588"/>
                  </a:lnTo>
                  <a:lnTo>
                    <a:pt x="71438" y="14288"/>
                  </a:lnTo>
                  <a:lnTo>
                    <a:pt x="23813" y="1428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7" name="Freeform: Shape 141">
              <a:extLst>
                <a:ext uri="{FF2B5EF4-FFF2-40B4-BE49-F238E27FC236}">
                  <a16:creationId xmlns="" xmlns:a16="http://schemas.microsoft.com/office/drawing/2014/main" id="{5740539F-F119-4D30-BA76-16CC260CEDC0}"/>
                </a:ext>
              </a:extLst>
            </p:cNvPr>
            <p:cNvSpPr/>
            <p:nvPr/>
          </p:nvSpPr>
          <p:spPr>
            <a:xfrm>
              <a:off x="2835413" y="3931714"/>
              <a:ext cx="76200" cy="190500"/>
            </a:xfrm>
            <a:custGeom>
              <a:avLst/>
              <a:gdLst>
                <a:gd name="connsiteX0" fmla="*/ 42863 w 76200"/>
                <a:gd name="connsiteY0" fmla="*/ 176213 h 190500"/>
                <a:gd name="connsiteX1" fmla="*/ 14288 w 76200"/>
                <a:gd name="connsiteY1" fmla="*/ 176213 h 190500"/>
                <a:gd name="connsiteX2" fmla="*/ 14288 w 76200"/>
                <a:gd name="connsiteY2" fmla="*/ 14288 h 190500"/>
                <a:gd name="connsiteX3" fmla="*/ 42863 w 76200"/>
                <a:gd name="connsiteY3" fmla="*/ 14288 h 190500"/>
                <a:gd name="connsiteX4" fmla="*/ 61913 w 76200"/>
                <a:gd name="connsiteY4" fmla="*/ 33338 h 190500"/>
                <a:gd name="connsiteX5" fmla="*/ 61913 w 76200"/>
                <a:gd name="connsiteY5" fmla="*/ 157163 h 190500"/>
                <a:gd name="connsiteX6" fmla="*/ 42863 w 76200"/>
                <a:gd name="connsiteY6" fmla="*/ 17621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190500">
                  <a:moveTo>
                    <a:pt x="42863" y="176213"/>
                  </a:moveTo>
                  <a:lnTo>
                    <a:pt x="14288" y="176213"/>
                  </a:lnTo>
                  <a:lnTo>
                    <a:pt x="14288" y="14288"/>
                  </a:lnTo>
                  <a:lnTo>
                    <a:pt x="42863" y="14288"/>
                  </a:lnTo>
                  <a:cubicBezTo>
                    <a:pt x="53340" y="14288"/>
                    <a:pt x="61913" y="22860"/>
                    <a:pt x="61913" y="33338"/>
                  </a:cubicBezTo>
                  <a:lnTo>
                    <a:pt x="61913" y="157163"/>
                  </a:lnTo>
                  <a:cubicBezTo>
                    <a:pt x="61913" y="167640"/>
                    <a:pt x="53340" y="176213"/>
                    <a:pt x="42863" y="17621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8" name="Freeform: Shape 142">
              <a:extLst>
                <a:ext uri="{FF2B5EF4-FFF2-40B4-BE49-F238E27FC236}">
                  <a16:creationId xmlns="" xmlns:a16="http://schemas.microsoft.com/office/drawing/2014/main" id="{71B96DAC-942C-46CC-A158-84ED60AC1857}"/>
                </a:ext>
              </a:extLst>
            </p:cNvPr>
            <p:cNvSpPr/>
            <p:nvPr/>
          </p:nvSpPr>
          <p:spPr>
            <a:xfrm>
              <a:off x="2625863" y="4303189"/>
              <a:ext cx="28575" cy="76200"/>
            </a:xfrm>
            <a:custGeom>
              <a:avLst/>
              <a:gdLst>
                <a:gd name="connsiteX0" fmla="*/ 14288 w 28575"/>
                <a:gd name="connsiteY0" fmla="*/ 14288 h 76200"/>
                <a:gd name="connsiteX1" fmla="*/ 14288 w 28575"/>
                <a:gd name="connsiteY1" fmla="*/ 6191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76200">
                  <a:moveTo>
                    <a:pt x="14288" y="14288"/>
                  </a:moveTo>
                  <a:lnTo>
                    <a:pt x="14288" y="6191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9" name="Freeform: Shape 143">
              <a:extLst>
                <a:ext uri="{FF2B5EF4-FFF2-40B4-BE49-F238E27FC236}">
                  <a16:creationId xmlns="" xmlns:a16="http://schemas.microsoft.com/office/drawing/2014/main" id="{DC281439-2280-4BEC-BC10-532B773D2D8E}"/>
                </a:ext>
              </a:extLst>
            </p:cNvPr>
            <p:cNvSpPr/>
            <p:nvPr/>
          </p:nvSpPr>
          <p:spPr>
            <a:xfrm>
              <a:off x="2578238" y="4065064"/>
              <a:ext cx="219075" cy="333375"/>
            </a:xfrm>
            <a:custGeom>
              <a:avLst/>
              <a:gdLst>
                <a:gd name="connsiteX0" fmla="*/ 195263 w 219075"/>
                <a:gd name="connsiteY0" fmla="*/ 319088 h 333375"/>
                <a:gd name="connsiteX1" fmla="*/ 138113 w 219075"/>
                <a:gd name="connsiteY1" fmla="*/ 214313 h 333375"/>
                <a:gd name="connsiteX2" fmla="*/ 71438 w 219075"/>
                <a:gd name="connsiteY2" fmla="*/ 214313 h 333375"/>
                <a:gd name="connsiteX3" fmla="*/ 14288 w 219075"/>
                <a:gd name="connsiteY3" fmla="*/ 157163 h 333375"/>
                <a:gd name="connsiteX4" fmla="*/ 14288 w 219075"/>
                <a:gd name="connsiteY4" fmla="*/ 52388 h 333375"/>
                <a:gd name="connsiteX5" fmla="*/ 52388 w 219075"/>
                <a:gd name="connsiteY5" fmla="*/ 14288 h 333375"/>
                <a:gd name="connsiteX6" fmla="*/ 90488 w 219075"/>
                <a:gd name="connsiteY6" fmla="*/ 14288 h 333375"/>
                <a:gd name="connsiteX7" fmla="*/ 157163 w 219075"/>
                <a:gd name="connsiteY7" fmla="*/ 61913 h 333375"/>
                <a:gd name="connsiteX8" fmla="*/ 204788 w 219075"/>
                <a:gd name="connsiteY8" fmla="*/ 61913 h 333375"/>
                <a:gd name="connsiteX9" fmla="*/ 166688 w 219075"/>
                <a:gd name="connsiteY9" fmla="*/ 109538 h 333375"/>
                <a:gd name="connsiteX10" fmla="*/ 128588 w 219075"/>
                <a:gd name="connsiteY10" fmla="*/ 109538 h 333375"/>
                <a:gd name="connsiteX11" fmla="*/ 71438 w 219075"/>
                <a:gd name="connsiteY11" fmla="*/ 71438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333375">
                  <a:moveTo>
                    <a:pt x="195263" y="319088"/>
                  </a:moveTo>
                  <a:lnTo>
                    <a:pt x="138113" y="214313"/>
                  </a:lnTo>
                  <a:lnTo>
                    <a:pt x="71438" y="214313"/>
                  </a:lnTo>
                  <a:cubicBezTo>
                    <a:pt x="39910" y="214313"/>
                    <a:pt x="14288" y="188690"/>
                    <a:pt x="14288" y="157163"/>
                  </a:cubicBezTo>
                  <a:lnTo>
                    <a:pt x="14288" y="52388"/>
                  </a:lnTo>
                  <a:cubicBezTo>
                    <a:pt x="14288" y="31337"/>
                    <a:pt x="31337" y="14288"/>
                    <a:pt x="52388" y="14288"/>
                  </a:cubicBezTo>
                  <a:lnTo>
                    <a:pt x="90488" y="14288"/>
                  </a:lnTo>
                  <a:lnTo>
                    <a:pt x="157163" y="61913"/>
                  </a:lnTo>
                  <a:lnTo>
                    <a:pt x="204788" y="61913"/>
                  </a:lnTo>
                  <a:cubicBezTo>
                    <a:pt x="204788" y="61913"/>
                    <a:pt x="210217" y="109538"/>
                    <a:pt x="166688" y="109538"/>
                  </a:cubicBezTo>
                  <a:cubicBezTo>
                    <a:pt x="141256" y="109538"/>
                    <a:pt x="128588" y="109538"/>
                    <a:pt x="128588" y="109538"/>
                  </a:cubicBezTo>
                  <a:lnTo>
                    <a:pt x="71438" y="7143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0" name="Freeform: Shape 144">
              <a:extLst>
                <a:ext uri="{FF2B5EF4-FFF2-40B4-BE49-F238E27FC236}">
                  <a16:creationId xmlns="" xmlns:a16="http://schemas.microsoft.com/office/drawing/2014/main" id="{0F791DA8-127C-4C9B-9A0B-7705FC413C81}"/>
                </a:ext>
              </a:extLst>
            </p:cNvPr>
            <p:cNvSpPr/>
            <p:nvPr/>
          </p:nvSpPr>
          <p:spPr>
            <a:xfrm>
              <a:off x="2663963" y="4141264"/>
              <a:ext cx="161925" cy="257175"/>
            </a:xfrm>
            <a:custGeom>
              <a:avLst/>
              <a:gdLst>
                <a:gd name="connsiteX0" fmla="*/ 14288 w 161925"/>
                <a:gd name="connsiteY0" fmla="*/ 14288 h 257175"/>
                <a:gd name="connsiteX1" fmla="*/ 14288 w 161925"/>
                <a:gd name="connsiteY1" fmla="*/ 71438 h 257175"/>
                <a:gd name="connsiteX2" fmla="*/ 61913 w 161925"/>
                <a:gd name="connsiteY2" fmla="*/ 71438 h 257175"/>
                <a:gd name="connsiteX3" fmla="*/ 106871 w 161925"/>
                <a:gd name="connsiteY3" fmla="*/ 103346 h 257175"/>
                <a:gd name="connsiteX4" fmla="*/ 152876 w 161925"/>
                <a:gd name="connsiteY4" fmla="*/ 242888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57175">
                  <a:moveTo>
                    <a:pt x="14288" y="14288"/>
                  </a:moveTo>
                  <a:lnTo>
                    <a:pt x="14288" y="71438"/>
                  </a:lnTo>
                  <a:lnTo>
                    <a:pt x="61913" y="71438"/>
                  </a:lnTo>
                  <a:cubicBezTo>
                    <a:pt x="82105" y="71438"/>
                    <a:pt x="100203" y="84201"/>
                    <a:pt x="106871" y="103346"/>
                  </a:cubicBezTo>
                  <a:lnTo>
                    <a:pt x="152876" y="24288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1" name="Freeform: Shape 145">
              <a:extLst>
                <a:ext uri="{FF2B5EF4-FFF2-40B4-BE49-F238E27FC236}">
                  <a16:creationId xmlns="" xmlns:a16="http://schemas.microsoft.com/office/drawing/2014/main" id="{F20A5EF0-A4EE-40EF-B8ED-1FD4E5ADBB36}"/>
                </a:ext>
              </a:extLst>
            </p:cNvPr>
            <p:cNvSpPr/>
            <p:nvPr/>
          </p:nvSpPr>
          <p:spPr>
            <a:xfrm>
              <a:off x="2540138" y="4084114"/>
              <a:ext cx="171450" cy="247650"/>
            </a:xfrm>
            <a:custGeom>
              <a:avLst/>
              <a:gdLst>
                <a:gd name="connsiteX0" fmla="*/ 14288 w 171450"/>
                <a:gd name="connsiteY0" fmla="*/ 14288 h 247650"/>
                <a:gd name="connsiteX1" fmla="*/ 14288 w 171450"/>
                <a:gd name="connsiteY1" fmla="*/ 157163 h 247650"/>
                <a:gd name="connsiteX2" fmla="*/ 90488 w 171450"/>
                <a:gd name="connsiteY2" fmla="*/ 233363 h 247650"/>
                <a:gd name="connsiteX3" fmla="*/ 157163 w 171450"/>
                <a:gd name="connsiteY3" fmla="*/ 233363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247650">
                  <a:moveTo>
                    <a:pt x="14288" y="14288"/>
                  </a:moveTo>
                  <a:lnTo>
                    <a:pt x="14288" y="157163"/>
                  </a:lnTo>
                  <a:cubicBezTo>
                    <a:pt x="14288" y="199263"/>
                    <a:pt x="48387" y="233363"/>
                    <a:pt x="90488" y="233363"/>
                  </a:cubicBezTo>
                  <a:lnTo>
                    <a:pt x="157163" y="2333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2" name="Freeform: Shape 146">
              <a:extLst>
                <a:ext uri="{FF2B5EF4-FFF2-40B4-BE49-F238E27FC236}">
                  <a16:creationId xmlns="" xmlns:a16="http://schemas.microsoft.com/office/drawing/2014/main" id="{AA39FB99-6826-4E34-94BC-E75077C3859F}"/>
                </a:ext>
              </a:extLst>
            </p:cNvPr>
            <p:cNvSpPr/>
            <p:nvPr/>
          </p:nvSpPr>
          <p:spPr>
            <a:xfrm>
              <a:off x="2540138" y="4198414"/>
              <a:ext cx="123825" cy="57150"/>
            </a:xfrm>
            <a:custGeom>
              <a:avLst/>
              <a:gdLst>
                <a:gd name="connsiteX0" fmla="*/ 14288 w 123825"/>
                <a:gd name="connsiteY0" fmla="*/ 14288 h 57150"/>
                <a:gd name="connsiteX1" fmla="*/ 90488 w 123825"/>
                <a:gd name="connsiteY1" fmla="*/ 14288 h 57150"/>
                <a:gd name="connsiteX2" fmla="*/ 109538 w 123825"/>
                <a:gd name="connsiteY2" fmla="*/ 428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825" h="57150">
                  <a:moveTo>
                    <a:pt x="14288" y="14288"/>
                  </a:moveTo>
                  <a:lnTo>
                    <a:pt x="90488" y="14288"/>
                  </a:lnTo>
                  <a:lnTo>
                    <a:pt x="109538" y="428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3" name="Freeform: Shape 147">
              <a:extLst>
                <a:ext uri="{FF2B5EF4-FFF2-40B4-BE49-F238E27FC236}">
                  <a16:creationId xmlns="" xmlns:a16="http://schemas.microsoft.com/office/drawing/2014/main" id="{B443A6EE-DAB8-4A1C-A883-4716F27E0FA4}"/>
                </a:ext>
              </a:extLst>
            </p:cNvPr>
            <p:cNvSpPr/>
            <p:nvPr/>
          </p:nvSpPr>
          <p:spPr>
            <a:xfrm>
              <a:off x="2568713" y="4350814"/>
              <a:ext cx="142875" cy="47625"/>
            </a:xfrm>
            <a:custGeom>
              <a:avLst/>
              <a:gdLst>
                <a:gd name="connsiteX0" fmla="*/ 128588 w 142875"/>
                <a:gd name="connsiteY0" fmla="*/ 33338 h 47625"/>
                <a:gd name="connsiteX1" fmla="*/ 109538 w 142875"/>
                <a:gd name="connsiteY1" fmla="*/ 33338 h 47625"/>
                <a:gd name="connsiteX2" fmla="*/ 90488 w 142875"/>
                <a:gd name="connsiteY2" fmla="*/ 33338 h 47625"/>
                <a:gd name="connsiteX3" fmla="*/ 71438 w 142875"/>
                <a:gd name="connsiteY3" fmla="*/ 14288 h 47625"/>
                <a:gd name="connsiteX4" fmla="*/ 52388 w 142875"/>
                <a:gd name="connsiteY4" fmla="*/ 33338 h 47625"/>
                <a:gd name="connsiteX5" fmla="*/ 33338 w 142875"/>
                <a:gd name="connsiteY5" fmla="*/ 33338 h 47625"/>
                <a:gd name="connsiteX6" fmla="*/ 14288 w 142875"/>
                <a:gd name="connsiteY6" fmla="*/ 3333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47625">
                  <a:moveTo>
                    <a:pt x="128588" y="33338"/>
                  </a:moveTo>
                  <a:lnTo>
                    <a:pt x="109538" y="33338"/>
                  </a:lnTo>
                  <a:lnTo>
                    <a:pt x="90488" y="33338"/>
                  </a:lnTo>
                  <a:lnTo>
                    <a:pt x="71438" y="14288"/>
                  </a:lnTo>
                  <a:lnTo>
                    <a:pt x="52388" y="33338"/>
                  </a:lnTo>
                  <a:lnTo>
                    <a:pt x="33338" y="33338"/>
                  </a:lnTo>
                  <a:lnTo>
                    <a:pt x="14288" y="3333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4" name="Freeform: Shape 148">
              <a:extLst>
                <a:ext uri="{FF2B5EF4-FFF2-40B4-BE49-F238E27FC236}">
                  <a16:creationId xmlns="" xmlns:a16="http://schemas.microsoft.com/office/drawing/2014/main" id="{04F74806-5297-48E9-9F0C-1C6C24F78265}"/>
                </a:ext>
              </a:extLst>
            </p:cNvPr>
            <p:cNvSpPr/>
            <p:nvPr/>
          </p:nvSpPr>
          <p:spPr>
            <a:xfrm>
              <a:off x="2587763" y="3941144"/>
              <a:ext cx="114300" cy="123825"/>
            </a:xfrm>
            <a:custGeom>
              <a:avLst/>
              <a:gdLst>
                <a:gd name="connsiteX0" fmla="*/ 57150 w 114300"/>
                <a:gd name="connsiteY0" fmla="*/ 109633 h 123825"/>
                <a:gd name="connsiteX1" fmla="*/ 100013 w 114300"/>
                <a:gd name="connsiteY1" fmla="*/ 68771 h 123825"/>
                <a:gd name="connsiteX2" fmla="*/ 100013 w 114300"/>
                <a:gd name="connsiteY2" fmla="*/ 55150 h 123825"/>
                <a:gd name="connsiteX3" fmla="*/ 57150 w 114300"/>
                <a:gd name="connsiteY3" fmla="*/ 14288 h 123825"/>
                <a:gd name="connsiteX4" fmla="*/ 14288 w 114300"/>
                <a:gd name="connsiteY4" fmla="*/ 55150 h 123825"/>
                <a:gd name="connsiteX5" fmla="*/ 14288 w 114300"/>
                <a:gd name="connsiteY5" fmla="*/ 68771 h 123825"/>
                <a:gd name="connsiteX6" fmla="*/ 57150 w 114300"/>
                <a:gd name="connsiteY6" fmla="*/ 109633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23825">
                  <a:moveTo>
                    <a:pt x="57150" y="109633"/>
                  </a:moveTo>
                  <a:cubicBezTo>
                    <a:pt x="81058" y="109633"/>
                    <a:pt x="100013" y="91345"/>
                    <a:pt x="100013" y="68771"/>
                  </a:cubicBezTo>
                  <a:lnTo>
                    <a:pt x="100013" y="55150"/>
                  </a:lnTo>
                  <a:cubicBezTo>
                    <a:pt x="100013" y="32575"/>
                    <a:pt x="81058" y="14288"/>
                    <a:pt x="57150" y="14288"/>
                  </a:cubicBezTo>
                  <a:cubicBezTo>
                    <a:pt x="33242" y="14288"/>
                    <a:pt x="14288" y="32575"/>
                    <a:pt x="14288" y="55150"/>
                  </a:cubicBezTo>
                  <a:lnTo>
                    <a:pt x="14288" y="68771"/>
                  </a:lnTo>
                  <a:cubicBezTo>
                    <a:pt x="14288" y="91345"/>
                    <a:pt x="33242" y="109633"/>
                    <a:pt x="57150" y="10963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</p:grpSp>
      <p:pic>
        <p:nvPicPr>
          <p:cNvPr id="125" name="Рисунок 3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715" y="1774250"/>
            <a:ext cx="400495" cy="339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Рисунок 125"/>
          <p:cNvPicPr>
            <a:picLocks noChangeAspect="1"/>
          </p:cNvPicPr>
          <p:nvPr/>
        </p:nvPicPr>
        <p:blipFill>
          <a:blip r:embed="rId1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710" y="1276811"/>
            <a:ext cx="411655" cy="367889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=""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38966" y="3532062"/>
            <a:ext cx="5939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қықтар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ен </a:t>
            </a: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пілдіктерді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мтамасыз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туді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қылау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пекторларды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 </a:t>
            </a:r>
            <a:r>
              <a:rPr lang="ru-RU" sz="1400" kern="1000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нгізу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58015" y="1684550"/>
            <a:ext cx="565836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заматтардың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қықтық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уаттылығын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ттыру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</a:t>
            </a:r>
            <a:r>
              <a:rPr lang="ru-RU" alt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лькуляторды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lang="ru-RU" altLang="ru-RU" sz="14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1400" b="1" kern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нгізу</a:t>
            </a:r>
            <a:endParaRPr lang="ru-RU" altLang="ru-RU" sz="1400" b="1" kern="1200" dirty="0">
              <a:solidFill>
                <a:srgbClr val="00B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3" name="Straight Connector 73">
            <a:extLst>
              <a:ext uri="{FF2B5EF4-FFF2-40B4-BE49-F238E27FC236}">
                <a16:creationId xmlns=""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34590" y="2160107"/>
            <a:ext cx="5670817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pic>
        <p:nvPicPr>
          <p:cNvPr id="54" name="Picture 3"/>
          <p:cNvPicPr>
            <a:picLocks noChangeAspect="1" noChangeArrowheads="1"/>
          </p:cNvPicPr>
          <p:nvPr/>
        </p:nvPicPr>
        <p:blipFill rotWithShape="1"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9" t="9789" r="20514" b="24410"/>
          <a:stretch/>
        </p:blipFill>
        <p:spPr bwMode="auto">
          <a:xfrm>
            <a:off x="2233098" y="2244040"/>
            <a:ext cx="488951" cy="433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6047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3.xml><?xml version="1.0" encoding="utf-8"?>
<a:theme xmlns:a="http://schemas.openxmlformats.org/drawingml/2006/main" name="4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4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Firm Format - template_Blue 1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28ABD9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6.xml><?xml version="1.0" encoding="utf-8"?>
<a:theme xmlns:a="http://schemas.openxmlformats.org/drawingml/2006/main" name="6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Firm Format - template_Blue 1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28ABD9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7.xml><?xml version="1.0" encoding="utf-8"?>
<a:theme xmlns:a="http://schemas.openxmlformats.org/drawingml/2006/main" name="для ПМ и ГГ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53</TotalTime>
  <Words>2044</Words>
  <Application>Microsoft Office PowerPoint</Application>
  <PresentationFormat>Экран (16:9)</PresentationFormat>
  <Paragraphs>387</Paragraphs>
  <Slides>2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45" baseType="lpstr">
      <vt:lpstr>Helvetica Neue Light</vt:lpstr>
      <vt:lpstr>Arial Black</vt:lpstr>
      <vt:lpstr>MS PGothic</vt:lpstr>
      <vt:lpstr>Trebuchet MS</vt:lpstr>
      <vt:lpstr>Arial</vt:lpstr>
      <vt:lpstr>Tahoma</vt:lpstr>
      <vt:lpstr>Calibri</vt:lpstr>
      <vt:lpstr>Segoe UI Light</vt:lpstr>
      <vt:lpstr>Segoe UI Black</vt:lpstr>
      <vt:lpstr>Open Sans Light</vt:lpstr>
      <vt:lpstr>Calibri Light</vt:lpstr>
      <vt:lpstr>Wingdings</vt:lpstr>
      <vt:lpstr>MS PGothic</vt:lpstr>
      <vt:lpstr>Roboto</vt:lpstr>
      <vt:lpstr>Arial Unicode MS</vt:lpstr>
      <vt:lpstr>Arsenal</vt:lpstr>
      <vt:lpstr>ТИТУЛЫ</vt:lpstr>
      <vt:lpstr>3_Firm Format - template_Blue</vt:lpstr>
      <vt:lpstr>4_Firm Format - template_Blue</vt:lpstr>
      <vt:lpstr>1_2. Дополнительные</vt:lpstr>
      <vt:lpstr>5_Firm Format - template_Blue</vt:lpstr>
      <vt:lpstr>6_Firm Format - template_Blue</vt:lpstr>
      <vt:lpstr>для ПМ и ГГ</vt:lpstr>
      <vt:lpstr>7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хат</dc:creator>
  <cp:lastModifiedBy>1</cp:lastModifiedBy>
  <cp:revision>783</cp:revision>
  <cp:lastPrinted>2021-03-20T11:31:57Z</cp:lastPrinted>
  <dcterms:modified xsi:type="dcterms:W3CDTF">2021-04-22T09:24:55Z</dcterms:modified>
</cp:coreProperties>
</file>